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ppt/tags/tag42.xml" ContentType="application/vnd.openxmlformats-officedocument.presentationml.tags+xml"/>
  <Override PartName="/ppt/notesSlides/notesSlide5.xml" ContentType="application/vnd.openxmlformats-officedocument.presentationml.notesSlide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256" r:id="rId5"/>
    <p:sldId id="258" r:id="rId6"/>
    <p:sldId id="261" r:id="rId7"/>
    <p:sldId id="262" r:id="rId8"/>
    <p:sldId id="263" r:id="rId9"/>
    <p:sldId id="267" r:id="rId10"/>
    <p:sldId id="268" r:id="rId11"/>
  </p:sldIdLst>
  <p:sldSz cx="12192000" cy="6858000"/>
  <p:notesSz cx="6858000" cy="9144000"/>
  <p:custDataLst>
    <p:tags r:id="rId14"/>
  </p:custDataLst>
  <p:defaultTextStyle>
    <a:defPPr>
      <a:defRPr lang="en-US"/>
    </a:defPPr>
    <a:lvl1pPr>
      <a:spcBef>
        <a:spcPts val="0"/>
      </a:spcBef>
      <a:buClr>
        <a:schemeClr val="accent1"/>
      </a:buClr>
      <a:defRPr sz="1800"/>
    </a:lvl1pPr>
    <a:lvl2pPr marL="1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2pPr>
    <a:lvl3pPr marL="3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3pPr>
    <a:lvl4pPr marL="5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4pPr>
    <a:lvl5pPr marL="72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5pPr>
    <a:lvl6pPr marL="90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6pPr>
    <a:lvl7pPr marL="108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7pPr>
    <a:lvl8pPr marL="126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8pPr>
    <a:lvl9pPr marL="1440000" indent="-180000">
      <a:spcBef>
        <a:spcPts val="0"/>
      </a:spcBef>
      <a:buClr>
        <a:schemeClr val="accent1"/>
      </a:buClr>
      <a:buFont typeface="Arial" panose="020B0604020202020204" pitchFamily="34" charset="0"/>
      <a:buChar char="•"/>
      <a:defRPr sz="1800"/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5BCF22-3951-4542-AF71-8D25850FC765}" v="2" dt="2023-11-07T10:53:39.858"/>
    <p1510:client id="{CA67E678-3DB9-46A1-8522-3D79DE3FD94A}" v="4" dt="2023-11-07T09:50:10.769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64" autoAdjust="0"/>
    <p:restoredTop sz="96201" autoAdjust="0"/>
  </p:normalViewPr>
  <p:slideViewPr>
    <p:cSldViewPr snapToGrid="0" showGuides="1">
      <p:cViewPr varScale="1">
        <p:scale>
          <a:sx n="66" d="100"/>
          <a:sy n="66" d="100"/>
        </p:scale>
        <p:origin x="788" y="40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2310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3980"/>
    </p:cViewPr>
  </p:sorterViewPr>
  <p:notesViewPr>
    <p:cSldViewPr snapToGrid="0" showGuides="1">
      <p:cViewPr varScale="1">
        <p:scale>
          <a:sx n="121" d="100"/>
          <a:sy n="121" d="100"/>
        </p:scale>
        <p:origin x="4938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Relationship Id="rId22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xmlns="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xmlns="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>
                <a:solidFill>
                  <a:schemeClr val="tx2"/>
                </a:solidFill>
                <a:latin typeface="+mn-lt"/>
              </a:rPr>
              <a:t>1/2/2024</a:t>
            </a:fld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xmlns="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xmlns="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  <a:latin typeface="+mn-lt"/>
              </a:rPr>
              <a:t>Hand out</a:t>
            </a:r>
            <a:r>
              <a:rPr lang="en-US" sz="1050" dirty="0">
                <a:solidFill>
                  <a:schemeClr val="accent2"/>
                </a:solidFill>
                <a:latin typeface="+mn-lt"/>
              </a:rPr>
              <a:t> </a:t>
            </a:r>
            <a:fld id="{C92BABF8-1341-4DCB-864A-D83C08BEEAE4}" type="slidenum">
              <a:rPr lang="en-US" sz="1050" smtClean="0">
                <a:solidFill>
                  <a:schemeClr val="tx2"/>
                </a:solidFill>
                <a:latin typeface="+mn-lt"/>
              </a:rPr>
              <a:t>‹#›</a:t>
            </a:fld>
            <a:endParaRPr lang="en-US" sz="105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xmlns="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76FBC1AF-E4C9-412F-9B6D-66CD520F95DB}" type="datetimeFigureOut">
              <a:rPr lang="en-US" smtClean="0"/>
              <a:pPr/>
              <a:t>1/2/2024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‹#›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1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678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2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6356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3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24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4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5809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5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9517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6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6620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>
                <a:solidFill>
                  <a:schemeClr val="tx2"/>
                </a:solidFill>
              </a:rPr>
              <a:pPr/>
              <a:t>7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2505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670C6E6A-0191-4020-A084-BB23C7AE6B0D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8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9A561178-96D2-407A-94C5-91A37401F65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566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6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9A561178-96D2-407A-94C5-91A37401F65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166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ustainability 4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9A561178-96D2-407A-94C5-91A37401F65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24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xmlns="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xmlns="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3E4A7839-9F7E-47F2-83BA-F637AE096316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xmlns="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xmlns="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3E4A7839-9F7E-47F2-83BA-F637AE096316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xmlns="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xmlns="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3E4A7839-9F7E-47F2-83BA-F637AE096316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xmlns="" id="{6FD70AD7-1356-4F56-BCF5-60206B8893D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xmlns="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xmlns="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3E4A7839-9F7E-47F2-83BA-F637AE096316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xmlns="" id="{BC751AD9-F368-4030-BEF3-878CBEED0E5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xmlns="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xmlns="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3E4A7839-9F7E-47F2-83BA-F637AE096316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 flip="none" rotWithShape="1">
          <a:gsLst>
            <a:gs pos="40000">
              <a:schemeClr val="bg2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 cover">
            <a:extLst>
              <a:ext uri="{FF2B5EF4-FFF2-40B4-BE49-F238E27FC236}">
                <a16:creationId xmlns:a16="http://schemas.microsoft.com/office/drawing/2014/main" xmlns="" id="{0F638833-9358-4A10-8860-60EC0C65D97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3502025"/>
            <a:ext cx="12192000" cy="335597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xmlns="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xmlns="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3E4A7839-9F7E-47F2-83BA-F637AE096316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xmlns="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xmlns="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xmlns="" id="{46D369A7-07BD-4B91-9E53-807AAAF0C30C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092D1760-10AA-43FB-AC0B-074FF5007194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xmlns="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xmlns="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xmlns="" id="{DC2D4109-C5C2-42BB-B5A0-2F6793388E2C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Headline of the presentation">
            <a:extLst>
              <a:ext uri="{FF2B5EF4-FFF2-40B4-BE49-F238E27FC236}">
                <a16:creationId xmlns:a16="http://schemas.microsoft.com/office/drawing/2014/main" xmlns="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noFill/>
        </p:spPr>
        <p:txBody>
          <a:bodyPr rIns="0" bIns="0" anchor="t">
            <a:spAutoFit/>
          </a:bodyPr>
          <a:lstStyle>
            <a:lvl1pPr marL="0">
              <a:lnSpc>
                <a:spcPct val="100000"/>
              </a:lnSpc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rt with picture, </a:t>
            </a:r>
            <a:br>
              <a:rPr lang="en-US" dirty="0"/>
            </a:br>
            <a:r>
              <a:rPr lang="en-US" dirty="0"/>
              <a:t>Arial Regular, 36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2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Picture Placeholder" descr="Title picture – please describe further">
            <a:extLst>
              <a:ext uri="{FF2B5EF4-FFF2-40B4-BE49-F238E27FC236}">
                <a16:creationId xmlns:a16="http://schemas.microsoft.com/office/drawing/2014/main" xmlns="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xmlns="" id="{298AE3DB-A74B-4AD6-A37C-FBCFB647B93F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9A561178-96D2-407A-94C5-91A37401F65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5B05DC85-FD3C-4245-83A1-F6197CB9E08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9A561178-96D2-407A-94C5-91A37401F65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447F428C-5AA7-413C-A721-B7AADDF8B42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9A561178-96D2-407A-94C5-91A37401F65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267619FE-01EE-4013-B481-A8C505C5D26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8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lor Stage">
            <a:extLst>
              <a:ext uri="{FF2B5EF4-FFF2-40B4-BE49-F238E27FC236}">
                <a16:creationId xmlns:a16="http://schemas.microsoft.com/office/drawing/2014/main" xmlns="" id="{A71FD435-3CF0-4700-A204-51B8FECDB0E5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FF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xmlns="" id="{BDD73C6A-6099-483E-9C34-F604024F2575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5B05DC85-FD3C-4245-83A1-F6197CB9E08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4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6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xmlns="" id="{A236A90B-8F03-45C0-87DD-5479E8376B64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solidFill>
            <a:srgbClr val="00E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ECFA8B97-DE99-4B15-8C8C-3748FA022B72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447F428C-5AA7-413C-A721-B7AADDF8B42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043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4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xmlns="" id="{40C63E25-48A4-43B2-BEE6-D2FE79309C83}"/>
              </a:ext>
            </a:extLst>
          </p:cNvPr>
          <p:cNvSpPr/>
          <p:nvPr userDrawn="1"/>
        </p:nvSpPr>
        <p:spPr bwMode="hidden">
          <a:xfrm>
            <a:off x="0" y="0"/>
            <a:ext cx="12192000" cy="6166800"/>
          </a:xfrm>
          <a:prstGeom prst="rect">
            <a:avLst/>
          </a:prstGeom>
          <a:gradFill>
            <a:gsLst>
              <a:gs pos="40000">
                <a:srgbClr val="00FFB9"/>
              </a:gs>
              <a:gs pos="100000">
                <a:srgbClr val="00E6D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9" name="Color Stage">
            <a:extLst>
              <a:ext uri="{FF2B5EF4-FFF2-40B4-BE49-F238E27FC236}">
                <a16:creationId xmlns:a16="http://schemas.microsoft.com/office/drawing/2014/main" xmlns="" id="{0C524D66-9942-450A-A90F-E7A0CC42EC73}"/>
              </a:ext>
            </a:extLst>
          </p:cNvPr>
          <p:cNvSpPr/>
          <p:nvPr userDrawn="1"/>
        </p:nvSpPr>
        <p:spPr>
          <a:xfrm>
            <a:off x="0" y="1414463"/>
            <a:ext cx="12192000" cy="4752337"/>
          </a:xfrm>
          <a:prstGeom prst="rect">
            <a:avLst/>
          </a:prstGeom>
          <a:gradFill flip="none" rotWithShape="1">
            <a:gsLst>
              <a:gs pos="0">
                <a:srgbClr val="00FFB9"/>
              </a:gs>
              <a:gs pos="100000">
                <a:schemeClr val="bg2">
                  <a:alpha val="0"/>
                </a:schemeClr>
              </a:gs>
              <a:gs pos="40000">
                <a:srgbClr val="00FFB9">
                  <a:alpha val="50000"/>
                </a:srgb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CCD0B8A8-7DE9-432C-82EA-6468E4BB565F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267619FE-01EE-4013-B481-A8C505C5D26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1383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4FC1DCA2-253A-4E87-91E4-D402488C8D78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5B05DC85-FD3C-4245-83A1-F6197CB9E08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noFill/>
        </p:spPr>
        <p:txBody>
          <a:bodyPr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3543E2CC-A901-4194-A712-51CE520302B1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447F428C-5AA7-413C-A721-B7AADDF8B42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BC293230-94BC-41FA-A2D9-E9259B125F84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Title of the chapter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hapter divider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title of the chapter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2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2A2349A4-4A97-42CC-AE59-7EDEE385EDFA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267619FE-01EE-4013-B481-A8C505C5D26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xmlns="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xmlns="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11163" y="1414463"/>
            <a:ext cx="7199311" cy="4751387"/>
          </a:xfrm>
        </p:spPr>
        <p:txBody>
          <a:bodyPr/>
          <a:lstStyle>
            <a:lvl1pPr defTabSz="360000">
              <a:spcAft>
                <a:spcPts val="900"/>
              </a:spcAft>
              <a:tabLst>
                <a:tab pos="7200000" algn="r"/>
              </a:tabLst>
              <a:defRPr/>
            </a:lvl1pPr>
            <a:lvl2pPr defTabSz="360000">
              <a:spcAft>
                <a:spcPts val="900"/>
              </a:spcAft>
              <a:tabLst>
                <a:tab pos="7200000" algn="r"/>
              </a:tabLst>
              <a:defRPr/>
            </a:lvl2pPr>
            <a:lvl3pPr marL="180000" defTabSz="360000">
              <a:spcAft>
                <a:spcPts val="900"/>
              </a:spcAft>
              <a:tabLst>
                <a:tab pos="7200000" algn="r"/>
              </a:tabLst>
              <a:defRPr b="1"/>
            </a:lvl3pPr>
            <a:lvl4pPr marL="360000" defTabSz="360000">
              <a:spcAft>
                <a:spcPts val="900"/>
              </a:spcAft>
              <a:tabLst>
                <a:tab pos="7200000" algn="r"/>
              </a:tabLst>
              <a:defRPr/>
            </a:lvl4pPr>
            <a:lvl5pPr marL="360000" defTabSz="360000">
              <a:spcAft>
                <a:spcPts val="900"/>
              </a:spcAft>
              <a:tabLst>
                <a:tab pos="7200000" algn="r"/>
              </a:tabLst>
              <a:defRPr b="1"/>
            </a:lvl5pPr>
            <a:lvl6pPr marL="180000" defTabSz="360000">
              <a:spcAft>
                <a:spcPts val="600"/>
              </a:spcAft>
              <a:tabLst>
                <a:tab pos="7200000" algn="r"/>
              </a:tabLst>
              <a:defRPr sz="1600"/>
            </a:lvl6pPr>
            <a:lvl7pPr marL="180000" defTabSz="360000">
              <a:spcAft>
                <a:spcPts val="600"/>
              </a:spcAft>
              <a:tabLst>
                <a:tab pos="7200000" algn="r"/>
              </a:tabLst>
              <a:defRPr sz="1600" b="1"/>
            </a:lvl7pPr>
            <a:lvl8pPr marL="360000" defTabSz="360000">
              <a:spcAft>
                <a:spcPts val="600"/>
              </a:spcAft>
              <a:tabLst>
                <a:tab pos="7200000" algn="r"/>
              </a:tabLst>
              <a:defRPr sz="1600"/>
            </a:lvl8pPr>
            <a:lvl9pPr marL="360000" defTabSz="360000">
              <a:spcAft>
                <a:spcPts val="600"/>
              </a:spcAft>
              <a:tabLst>
                <a:tab pos="7200000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E73DB6A8-F91C-4B87-ACAA-19A2D5EA21EF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xmlns="" id="{D3DF1D7C-B467-46E9-B036-83EC1DBE711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20" pos="4794" userDrawn="1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xmlns="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478800"/>
            <a:ext cx="9863900" cy="57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py 1" descr="Agenda text frame">
            <a:extLst>
              <a:ext uri="{FF2B5EF4-FFF2-40B4-BE49-F238E27FC236}">
                <a16:creationId xmlns:a16="http://schemas.microsoft.com/office/drawing/2014/main" xmlns="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2" descr="Agenda text frame">
            <a:extLst>
              <a:ext uri="{FF2B5EF4-FFF2-40B4-BE49-F238E27FC236}">
                <a16:creationId xmlns:a16="http://schemas.microsoft.com/office/drawing/2014/main" xmlns="" id="{F3AAF44F-3461-47E2-8680-A8CD085220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6743700" y="1414463"/>
            <a:ext cx="5043488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040000" algn="r"/>
              </a:tabLst>
              <a:defRPr/>
            </a:lvl1pPr>
            <a:lvl2pPr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2pPr>
            <a:lvl3pPr marL="18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3pPr>
            <a:lvl4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/>
            </a:lvl4pPr>
            <a:lvl5pPr marL="360000">
              <a:spcAft>
                <a:spcPts val="900"/>
              </a:spcAft>
              <a:buClr>
                <a:schemeClr val="tx1"/>
              </a:buClr>
              <a:tabLst>
                <a:tab pos="5040000" algn="r"/>
              </a:tabLst>
              <a:defRPr b="1"/>
            </a:lvl5pPr>
            <a:lvl6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6pPr>
            <a:lvl7pPr marL="18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7pPr>
            <a:lvl8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/>
            </a:lvl8pPr>
            <a:lvl9pPr marL="360000">
              <a:spcAft>
                <a:spcPts val="600"/>
              </a:spcAft>
              <a:buClr>
                <a:schemeClr val="tx1"/>
              </a:buClr>
              <a:tabLst>
                <a:tab pos="5040000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xmlns="" id="{AB400EC0-C78D-42DD-85FB-5ED577185C1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xmlns="" id="{D3DF1D7C-B467-46E9-B036-83EC1DBE711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363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xmlns="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E73DB6A8-F91C-4B87-ACAA-19A2D5EA21EF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9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xmlns="" id="{D3DF1D7C-B467-46E9-B036-83EC1DBE711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xmlns="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xmlns="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xmlns="" id="{30251D14-AF6A-4279-B0A9-69FD9519EA58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xmlns="" id="{79F3E7D3-5B15-444A-88AC-9161D47F12F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full size picture – please describe further">
            <a:extLst>
              <a:ext uri="{FF2B5EF4-FFF2-40B4-BE49-F238E27FC236}">
                <a16:creationId xmlns:a16="http://schemas.microsoft.com/office/drawing/2014/main" xmlns="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1219200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xmlns="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2AF4F4C6-6E41-442C-BB9E-9E72BE92D2D8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xmlns="" id="{79F3E7D3-5B15-444A-88AC-9161D47F12F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007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 descr="Thematic picture – please describe further">
            <a:extLst>
              <a:ext uri="{FF2B5EF4-FFF2-40B4-BE49-F238E27FC236}">
                <a16:creationId xmlns:a16="http://schemas.microsoft.com/office/drawing/2014/main" xmlns="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rgbClr val="9999A9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hematic picture</a:t>
            </a:r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xmlns="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147732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tent page,</a:t>
            </a:r>
            <a:br>
              <a:rPr lang="en-US" dirty="0"/>
            </a:br>
            <a:r>
              <a:rPr lang="en-US" dirty="0"/>
              <a:t>Arial Regular,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xmlns="" id="{6F965802-E517-4CC3-99D7-1DA8BF1FB0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xmlns="" id="{30251D14-AF6A-4279-B0A9-69FD9519EA58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4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xmlns="" id="{79F3E7D3-5B15-444A-88AC-9161D47F12F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xmlns="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863976F1-B9C2-4217-A36A-7F1DCFF6EE2A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E8FC1C65-873A-4B8F-BB57-51EEBC35A1A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 flip="none" rotWithShape="1">
          <a:gsLst>
            <a:gs pos="40000">
              <a:schemeClr val="accent6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lor Stage">
            <a:extLst>
              <a:ext uri="{FF2B5EF4-FFF2-40B4-BE49-F238E27FC236}">
                <a16:creationId xmlns:a16="http://schemas.microsoft.com/office/drawing/2014/main" xmlns="" id="{B8172AC2-E83F-4EFD-B70E-DE91E64651D8}"/>
              </a:ext>
            </a:extLst>
          </p:cNvPr>
          <p:cNvSpPr/>
          <p:nvPr userDrawn="1"/>
        </p:nvSpPr>
        <p:spPr>
          <a:xfrm>
            <a:off x="0" y="1414463"/>
            <a:ext cx="12192000" cy="5443537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>
                  <a:alpha val="0"/>
                </a:schemeClr>
              </a:gs>
              <a:gs pos="40000">
                <a:schemeClr val="bg2">
                  <a:alpha val="5000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xmlns="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Siemens Logo" descr="Siemens logo">
            <a:extLst>
              <a:ext uri="{FF2B5EF4-FFF2-40B4-BE49-F238E27FC236}">
                <a16:creationId xmlns:a16="http://schemas.microsoft.com/office/drawing/2014/main" xmlns="" id="{863976F1-B9C2-4217-A36A-7F1DCFF6EE2A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07B7E75B-80B4-49F8-AA70-A41C9D89685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Light Sa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xmlns="" id="{5CDB9E4A-37E0-45B2-BC93-C2EC503FB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xmlns="" id="{1AC59AB3-8DAC-43B8-977E-A91337DC0825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E8FC1C65-873A-4B8F-BB57-51EEBC35A1A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819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8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9A561178-96D2-407A-94C5-91A37401F65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279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xmlns="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xmlns="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xmlns="" id="{91EB517C-C8FD-4E2E-B744-DB952E96B478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7B1666FD-2258-443A-846C-6C7533C61D5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xmlns="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xmlns="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xmlns="" id="{2EA6CE5F-6FF7-4E0A-AEB2-1A7C43CE05C1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xmlns="" id="{6F746812-65E3-4C09-AC38-B0CFE93C8A9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xmlns="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xmlns="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xmlns="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6FCACBED-2537-4F3E-8D2C-E60141005364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xmlns="" id="{21AA656B-0BAF-4B75-90BE-93CAC5946C0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xmlns="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xmlns="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 descr="Content text frame">
            <a:extLst>
              <a:ext uri="{FF2B5EF4-FFF2-40B4-BE49-F238E27FC236}">
                <a16:creationId xmlns:a16="http://schemas.microsoft.com/office/drawing/2014/main" xmlns="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3" descr="Content text frame">
            <a:extLst>
              <a:ext uri="{FF2B5EF4-FFF2-40B4-BE49-F238E27FC236}">
                <a16:creationId xmlns:a16="http://schemas.microsoft.com/office/drawing/2014/main" xmlns="" id="{F020B491-E63A-4FB5-94ED-2BC31EB35C33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6FCACBED-2537-4F3E-8D2C-E60141005364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xmlns="" id="{F9117D9C-D502-472C-A3C8-FA9087A2EDC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lide headline">
            <a:extLst>
              <a:ext uri="{FF2B5EF4-FFF2-40B4-BE49-F238E27FC236}">
                <a16:creationId xmlns:a16="http://schemas.microsoft.com/office/drawing/2014/main" xmlns="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xmlns="" id="{A8B1D58A-DC84-4573-957E-9BEA9AAB308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2" descr="Content text frame">
            <a:extLst>
              <a:ext uri="{FF2B5EF4-FFF2-40B4-BE49-F238E27FC236}">
                <a16:creationId xmlns:a16="http://schemas.microsoft.com/office/drawing/2014/main" xmlns="" id="{2871E7F7-6A93-4406-8617-80D9CFF396A8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3" descr="Content text frame">
            <a:extLst>
              <a:ext uri="{FF2B5EF4-FFF2-40B4-BE49-F238E27FC236}">
                <a16:creationId xmlns:a16="http://schemas.microsoft.com/office/drawing/2014/main" xmlns="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4" descr="Content text frame">
            <a:extLst>
              <a:ext uri="{FF2B5EF4-FFF2-40B4-BE49-F238E27FC236}">
                <a16:creationId xmlns:a16="http://schemas.microsoft.com/office/drawing/2014/main" xmlns="" id="{7AD3B9B1-3210-46C8-8222-A0E11719EB88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6FCACBED-2537-4F3E-8D2C-E60141005364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xmlns="" id="{53D55964-F7E8-48E3-84D5-FE4FE835C56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 descr="Slide headline">
            <a:extLst>
              <a:ext uri="{FF2B5EF4-FFF2-40B4-BE49-F238E27FC236}">
                <a16:creationId xmlns:a16="http://schemas.microsoft.com/office/drawing/2014/main" xmlns="" id="{E568133C-15D2-4F33-802E-DF15E78918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 descr="Thematic picture – please describe further">
            <a:extLst>
              <a:ext uri="{FF2B5EF4-FFF2-40B4-BE49-F238E27FC236}">
                <a16:creationId xmlns:a16="http://schemas.microsoft.com/office/drawing/2014/main" xmlns="" id="{90866A30-329B-420B-B42B-2C69E0DE6D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411161" y="1414800"/>
            <a:ext cx="7199313" cy="4752000"/>
          </a:xfrm>
          <a:solidFill>
            <a:srgbClr val="9999A9"/>
          </a:solidFill>
        </p:spPr>
        <p:txBody>
          <a:bodyPr lIns="144000" tIns="108000" rIns="144000" bIns="108000">
            <a:noAutofit/>
          </a:bodyPr>
          <a:lstStyle/>
          <a:p>
            <a:r>
              <a:rPr lang="en-US" dirty="0"/>
              <a:t>Thematic picture</a:t>
            </a:r>
          </a:p>
        </p:txBody>
      </p:sp>
      <p:sp>
        <p:nvSpPr>
          <p:cNvPr id="4" name="Copy" descr="Content text frame">
            <a:extLst>
              <a:ext uri="{FF2B5EF4-FFF2-40B4-BE49-F238E27FC236}">
                <a16:creationId xmlns:a16="http://schemas.microsoft.com/office/drawing/2014/main" xmlns="" id="{BF3FF41E-3844-4153-B955-A1F3E9EC1D3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xmlns="" id="{F468BE17-5D03-45C2-9D37-CF354AAA958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xmlns="" id="{95022CCB-0484-488B-8637-222C3919B0F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 descr="Slide headline">
            <a:extLst>
              <a:ext uri="{FF2B5EF4-FFF2-40B4-BE49-F238E27FC236}">
                <a16:creationId xmlns:a16="http://schemas.microsoft.com/office/drawing/2014/main" xmlns="" id="{9C4633C1-8D3E-45A5-A522-817574663A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" descr="Content table  frame">
            <a:extLst>
              <a:ext uri="{FF2B5EF4-FFF2-40B4-BE49-F238E27FC236}">
                <a16:creationId xmlns:a16="http://schemas.microsoft.com/office/drawing/2014/main" xmlns="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xmlns="" id="{2EA6CE5F-6FF7-4E0A-AEB2-1A7C43CE05C1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3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xmlns="" id="{CE0A22CB-5E69-4817-B713-C02B97CF6B9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 descr="Slide headline">
            <a:extLst>
              <a:ext uri="{FF2B5EF4-FFF2-40B4-BE49-F238E27FC236}">
                <a16:creationId xmlns:a16="http://schemas.microsoft.com/office/drawing/2014/main" xmlns="" id="{9F2A455C-53B1-4792-8EA9-F00926C48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 descr="Content text frame">
            <a:extLst>
              <a:ext uri="{FF2B5EF4-FFF2-40B4-BE49-F238E27FC236}">
                <a16:creationId xmlns:a16="http://schemas.microsoft.com/office/drawing/2014/main" xmlns="" id="{9CE7E2D8-94E8-4FE6-93A5-924CA3EC53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Copy 2" descr="Content text frame">
            <a:extLst>
              <a:ext uri="{FF2B5EF4-FFF2-40B4-BE49-F238E27FC236}">
                <a16:creationId xmlns:a16="http://schemas.microsoft.com/office/drawing/2014/main" xmlns="" id="{3AC3CE10-0C4B-4A11-BA76-8CAFED13661C}"/>
              </a:ext>
            </a:extLst>
          </p:cNvPr>
          <p:cNvSpPr>
            <a:spLocks noGrp="1"/>
          </p:cNvSpPr>
          <p:nvPr>
            <p:ph idx="13" hasCustomPrompt="1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chemeClr val="tx1"/>
              </a:buClr>
              <a:defRPr>
                <a:ln>
                  <a:noFill/>
                </a:ln>
              </a:defRPr>
            </a:lvl2pPr>
            <a:lvl3pPr>
              <a:buClr>
                <a:schemeClr val="tx1"/>
              </a:buClr>
              <a:defRPr>
                <a:ln>
                  <a:noFill/>
                </a:ln>
              </a:defRPr>
            </a:lvl3pPr>
            <a:lvl4pPr>
              <a:buClr>
                <a:schemeClr val="tx1"/>
              </a:buClr>
              <a:defRPr>
                <a:ln>
                  <a:noFill/>
                </a:ln>
              </a:defRPr>
            </a:lvl4pPr>
            <a:lvl5pPr>
              <a:buClr>
                <a:schemeClr val="tx1"/>
              </a:buClr>
              <a:defRPr>
                <a:ln>
                  <a:noFill/>
                </a:ln>
              </a:defRPr>
            </a:lvl5pPr>
            <a:lvl6pPr>
              <a:buClr>
                <a:schemeClr val="tx1"/>
              </a:buClr>
              <a:defRPr>
                <a:ln>
                  <a:noFill/>
                </a:ln>
              </a:defRPr>
            </a:lvl6pPr>
            <a:lvl7pPr>
              <a:buClr>
                <a:schemeClr val="tx1"/>
              </a:buClr>
              <a:defRPr>
                <a:ln>
                  <a:noFill/>
                </a:ln>
              </a:defRPr>
            </a:lvl7pPr>
            <a:lvl8pPr>
              <a:buClr>
                <a:schemeClr val="tx1"/>
              </a:buClr>
              <a:defRPr>
                <a:ln>
                  <a:noFill/>
                </a:ln>
              </a:defRPr>
            </a:lvl8pPr>
            <a:lvl9pPr>
              <a:buClr>
                <a:schemeClr val="tx1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Copy 3" descr="Content text frame (highlight)">
            <a:extLst>
              <a:ext uri="{FF2B5EF4-FFF2-40B4-BE49-F238E27FC236}">
                <a16:creationId xmlns:a16="http://schemas.microsoft.com/office/drawing/2014/main" xmlns="" id="{E840DCCC-8E77-40B8-B94B-A4D3A4D77826}"/>
              </a:ext>
            </a:extLst>
          </p:cNvPr>
          <p:cNvSpPr>
            <a:spLocks noGrp="1"/>
          </p:cNvSpPr>
          <p:nvPr>
            <p:ph idx="12" hasCustomPrompt="1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accent1"/>
          </a:solidFill>
          <a:ln w="19050">
            <a:solidFill>
              <a:srgbClr val="009999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  <a:lvl6pPr>
              <a:buClr>
                <a:schemeClr val="tx1"/>
              </a:buClr>
              <a:defRPr>
                <a:solidFill>
                  <a:schemeClr val="tx1"/>
                </a:solidFill>
              </a:defRPr>
            </a:lvl6pPr>
            <a:lvl7pPr>
              <a:buClr>
                <a:schemeClr val="tx1"/>
              </a:buClr>
              <a:defRPr>
                <a:solidFill>
                  <a:schemeClr val="tx1"/>
                </a:solidFill>
              </a:defRPr>
            </a:lvl7pPr>
            <a:lvl8pPr>
              <a:buClr>
                <a:schemeClr val="tx1"/>
              </a:buClr>
              <a:defRPr>
                <a:solidFill>
                  <a:schemeClr val="tx1"/>
                </a:solidFill>
              </a:defRPr>
            </a:lvl8pPr>
            <a:lvl9pPr>
              <a:buClr>
                <a:schemeClr val="tx1"/>
              </a:buCl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9" name="Siemens Logo" descr="Siemens logo">
            <a:extLst>
              <a:ext uri="{FF2B5EF4-FFF2-40B4-BE49-F238E27FC236}">
                <a16:creationId xmlns:a16="http://schemas.microsoft.com/office/drawing/2014/main" xmlns="" id="{E5DDD55C-5C17-4BCD-A9BB-FE8A69DC48DE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6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xmlns="" id="{DC2AAE3E-7F56-4838-BCE7-6B966549F4D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xmlns="" id="{00B813CE-4DD6-4EAD-800B-047C0542F1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-540000"/>
            <a:ext cx="9863997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xmlns="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xmlns="" id="{916E4245-F21C-4EAB-8B26-FEA21C26067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8" name="Siemens Logo" descr="Siemens logo">
            <a:extLst>
              <a:ext uri="{FF2B5EF4-FFF2-40B4-BE49-F238E27FC236}">
                <a16:creationId xmlns:a16="http://schemas.microsoft.com/office/drawing/2014/main" xmlns="" id="{AF2E271F-5AF7-408E-9752-03D1D6448EAA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xmlns="" id="{CCC7FBE7-01B9-4EC8-8BE1-F416F7C5B7A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xmlns="" id="{3A8C0A65-FABA-4781-9F01-D54558440B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2" y="-540000"/>
            <a:ext cx="9863138" cy="360000"/>
          </a:xfrm>
        </p:spPr>
        <p:txBody>
          <a:bodyPr/>
          <a:lstStyle>
            <a:lvl1pPr>
              <a:defRPr b="0"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py" descr="Quote text frame">
            <a:extLst>
              <a:ext uri="{FF2B5EF4-FFF2-40B4-BE49-F238E27FC236}">
                <a16:creationId xmlns:a16="http://schemas.microsoft.com/office/drawing/2014/main" xmlns="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xmlns="" id="{58EF2AB0-A78A-44C9-9A7D-F20D9ED854E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 bwMode="ltGray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15000">
                <a:srgbClr val="00FFB9"/>
              </a:gs>
              <a:gs pos="8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xmlns="" id="{F8D833B7-9866-4D2D-AEB7-012D6DDE2A3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xmlns="" id="{4131F54F-C70B-4435-91E6-F995F83E6C6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6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9A561178-96D2-407A-94C5-91A37401F65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36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xmlns="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xmlns="" id="{0EF6BB07-4F4E-4859-9572-DA63E35B93A1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xmlns="" id="{F9372441-FA7E-4481-BBC2-24CB6D3017C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 descr="Statement text frame">
            <a:extLst>
              <a:ext uri="{FF2B5EF4-FFF2-40B4-BE49-F238E27FC236}">
                <a16:creationId xmlns:a16="http://schemas.microsoft.com/office/drawing/2014/main" xmlns="" id="{39939C22-A735-46A9-A277-A4B1B330F3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 b="0">
                <a:gradFill>
                  <a:gsLst>
                    <a:gs pos="20000">
                      <a:srgbClr val="00FFB9"/>
                    </a:gs>
                    <a:gs pos="70000">
                      <a:srgbClr val="00E6DC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Siemens Logo" descr="Siemens logo">
            <a:extLst>
              <a:ext uri="{FF2B5EF4-FFF2-40B4-BE49-F238E27FC236}">
                <a16:creationId xmlns:a16="http://schemas.microsoft.com/office/drawing/2014/main" xmlns="" id="{F8D833B7-9866-4D2D-AEB7-012D6DDE2A3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xmlns="" id="{D52C2AF7-8539-453F-BD56-35B696DB207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 descr="Slide headline">
            <a:extLst>
              <a:ext uri="{FF2B5EF4-FFF2-40B4-BE49-F238E27FC236}">
                <a16:creationId xmlns:a16="http://schemas.microsoft.com/office/drawing/2014/main" xmlns="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58400" y="1234800"/>
            <a:ext cx="9216000" cy="1162523"/>
          </a:xfrm>
          <a:noFill/>
        </p:spPr>
        <p:txBody>
          <a:bodyPr wrap="square" lIns="0" tIns="54000" rIns="0" bIns="0" anchor="t" anchorCtr="0">
            <a:spAutoFit/>
          </a:bodyPr>
          <a:lstStyle>
            <a:lvl1pPr marL="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 descr="Content text frame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2pPr>
            <a:lvl3pPr marL="144000" indent="-144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4pPr>
            <a:lvl5pPr marL="144000" indent="-144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36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7pPr>
            <a:lvl8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540000" indent="-180000" algn="l"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Skills etc.</a:t>
            </a:r>
          </a:p>
          <a:p>
            <a:pPr lvl="3"/>
            <a:r>
              <a:rPr lang="en-US" dirty="0"/>
              <a:t>Name etc. sublevel</a:t>
            </a:r>
          </a:p>
          <a:p>
            <a:pPr lvl="4"/>
            <a:r>
              <a:rPr lang="en-US" dirty="0"/>
              <a:t>Skills etc. sublevel</a:t>
            </a:r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5FD2C39E-5D81-4A0E-9F45-90932890088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8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xmlns="" id="{CFF9630D-791D-45AE-8E5E-36F747F599E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Transformation 4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9A561178-96D2-407A-94C5-91A37401F65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874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8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8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,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3876677"/>
            <a:ext cx="9286875" cy="1930398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9A561178-96D2-407A-94C5-91A37401F65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02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6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000" cy="2769989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6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60 </a:t>
            </a:r>
            <a:r>
              <a:rPr lang="en-US" dirty="0" err="1"/>
              <a:t>pt</a:t>
            </a:r>
            <a:r>
              <a:rPr lang="en-US" dirty="0"/>
              <a:t>,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9A561178-96D2-407A-94C5-91A37401F65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2854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k&amp;blur Siemens Xcelerator 40pt (motif 1)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descr="Headline of the presentation">
            <a:extLst>
              <a:ext uri="{FF2B5EF4-FFF2-40B4-BE49-F238E27FC236}">
                <a16:creationId xmlns:a16="http://schemas.microsoft.com/office/drawing/2014/main" xmlns="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9288000" cy="2462213"/>
          </a:xfrm>
          <a:noFill/>
        </p:spPr>
        <p:txBody>
          <a:bodyPr wrap="square" rIns="0" bIns="0" anchor="b" anchorCtr="0">
            <a:spAutoFit/>
          </a:bodyPr>
          <a:lstStyle>
            <a:lvl1pPr marL="0">
              <a:lnSpc>
                <a:spcPct val="10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chart, </a:t>
            </a:r>
            <a:br>
              <a:rPr lang="en-US" dirty="0"/>
            </a:br>
            <a:r>
              <a:rPr lang="en-US" dirty="0"/>
              <a:t>Arial Regular, 40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extra long headlines,</a:t>
            </a:r>
            <a:br>
              <a:rPr lang="en-US" dirty="0"/>
            </a:br>
            <a:r>
              <a:rPr lang="en-US" dirty="0"/>
              <a:t>4 lines</a:t>
            </a:r>
          </a:p>
        </p:txBody>
      </p:sp>
      <p:sp>
        <p:nvSpPr>
          <p:cNvPr id="3" name="Subhead" descr="Subheadline of the presentation">
            <a:extLst>
              <a:ext uri="{FF2B5EF4-FFF2-40B4-BE49-F238E27FC236}">
                <a16:creationId xmlns:a16="http://schemas.microsoft.com/office/drawing/2014/main" xmlns="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708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10" name="Siemens Logo" descr="Siemens logo">
            <a:extLst>
              <a:ext uri="{FF2B5EF4-FFF2-40B4-BE49-F238E27FC236}">
                <a16:creationId xmlns:a16="http://schemas.microsoft.com/office/drawing/2014/main" xmlns="" id="{9A561178-96D2-407A-94C5-91A37401F657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  <p:sp>
        <p:nvSpPr>
          <p:cNvPr id="2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166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4019137A-63EC-4850-8D85-061BDA73D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3576906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56" imgW="344" imgH="345" progId="TCLayout.ActiveDocument.1">
                  <p:embed/>
                </p:oleObj>
              </mc:Choice>
              <mc:Fallback>
                <p:oleObj name="think-cell Folie" r:id="rId56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xmlns="" id="{4019137A-63EC-4850-8D85-061BDA73D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 descr="Slide headline">
            <a:extLst>
              <a:ext uri="{FF2B5EF4-FFF2-40B4-BE49-F238E27FC236}">
                <a16:creationId xmlns:a16="http://schemas.microsoft.com/office/drawing/2014/main" xmlns="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" descr="Content text frame">
            <a:extLst>
              <a:ext uri="{FF2B5EF4-FFF2-40B4-BE49-F238E27FC236}">
                <a16:creationId xmlns:a16="http://schemas.microsoft.com/office/drawing/2014/main" xmlns="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 descr="Footer with copyright, author and department information, and date">
            <a:extLst>
              <a:ext uri="{FF2B5EF4-FFF2-40B4-BE49-F238E27FC236}">
                <a16:creationId xmlns:a16="http://schemas.microsoft.com/office/drawing/2014/main" xmlns="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Slide Number Placeholder" descr="Page number">
            <a:extLst>
              <a:ext uri="{FF2B5EF4-FFF2-40B4-BE49-F238E27FC236}">
                <a16:creationId xmlns:a16="http://schemas.microsoft.com/office/drawing/2014/main" xmlns="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76" r:id="rId4"/>
    <p:sldLayoutId id="2147483777" r:id="rId5"/>
    <p:sldLayoutId id="2147483778" r:id="rId6"/>
    <p:sldLayoutId id="2147483773" r:id="rId7"/>
    <p:sldLayoutId id="2147483774" r:id="rId8"/>
    <p:sldLayoutId id="2147483775" r:id="rId9"/>
    <p:sldLayoutId id="2147483770" r:id="rId10"/>
    <p:sldLayoutId id="2147483771" r:id="rId11"/>
    <p:sldLayoutId id="2147483772" r:id="rId12"/>
    <p:sldLayoutId id="2147483724" r:id="rId13"/>
    <p:sldLayoutId id="2147483725" r:id="rId14"/>
    <p:sldLayoutId id="2147483726" r:id="rId15"/>
    <p:sldLayoutId id="2147483730" r:id="rId16"/>
    <p:sldLayoutId id="2147483731" r:id="rId17"/>
    <p:sldLayoutId id="2147483732" r:id="rId18"/>
    <p:sldLayoutId id="2147483727" r:id="rId19"/>
    <p:sldLayoutId id="2147483728" r:id="rId20"/>
    <p:sldLayoutId id="2147483729" r:id="rId21"/>
    <p:sldLayoutId id="2147483736" r:id="rId22"/>
    <p:sldLayoutId id="2147483737" r:id="rId23"/>
    <p:sldLayoutId id="2147483738" r:id="rId24"/>
    <p:sldLayoutId id="2147483753" r:id="rId25"/>
    <p:sldLayoutId id="2147483754" r:id="rId26"/>
    <p:sldLayoutId id="2147483755" r:id="rId27"/>
    <p:sldLayoutId id="2147483739" r:id="rId28"/>
    <p:sldLayoutId id="2147483740" r:id="rId29"/>
    <p:sldLayoutId id="2147483741" r:id="rId30"/>
    <p:sldLayoutId id="2147483744" r:id="rId31"/>
    <p:sldLayoutId id="2147483756" r:id="rId32"/>
    <p:sldLayoutId id="2147483655" r:id="rId33"/>
    <p:sldLayoutId id="2147483677" r:id="rId34"/>
    <p:sldLayoutId id="2147483779" r:id="rId35"/>
    <p:sldLayoutId id="2147483709" r:id="rId36"/>
    <p:sldLayoutId id="2147483691" r:id="rId37"/>
    <p:sldLayoutId id="2147483692" r:id="rId38"/>
    <p:sldLayoutId id="2147483780" r:id="rId39"/>
    <p:sldLayoutId id="2147483650" r:id="rId40"/>
    <p:sldLayoutId id="2147483665" r:id="rId41"/>
    <p:sldLayoutId id="2147483666" r:id="rId42"/>
    <p:sldLayoutId id="2147483697" r:id="rId43"/>
    <p:sldLayoutId id="2147483698" r:id="rId44"/>
    <p:sldLayoutId id="2147483652" r:id="rId45"/>
    <p:sldLayoutId id="2147483694" r:id="rId46"/>
    <p:sldLayoutId id="2147483687" r:id="rId47"/>
    <p:sldLayoutId id="2147483690" r:id="rId48"/>
    <p:sldLayoutId id="2147483681" r:id="rId49"/>
    <p:sldLayoutId id="2147483682" r:id="rId50"/>
    <p:sldLayoutId id="2147483711" r:id="rId51"/>
    <p:sldLayoutId id="2147483678" r:id="rId5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oleObject" Target="../embeddings/oleObject3.bin"/><Relationship Id="rId5" Type="http://schemas.openxmlformats.org/officeDocument/2006/relationships/tags" Target="../tags/tag7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hyperlink" Target="http://www.siemens.com/susmanager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34" Type="http://schemas.openxmlformats.org/officeDocument/2006/relationships/oleObject" Target="../embeddings/oleObject5.bin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notesSlide" Target="../notesSlides/notesSlide4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slideLayout" Target="../slideLayouts/slideLayout33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6" Type="http://schemas.openxmlformats.org/officeDocument/2006/relationships/tags" Target="../tags/tag48.xml"/><Relationship Id="rId11" Type="http://schemas.openxmlformats.org/officeDocument/2006/relationships/oleObject" Target="../embeddings/oleObject8.bin"/><Relationship Id="rId5" Type="http://schemas.openxmlformats.org/officeDocument/2006/relationships/tags" Target="../tags/tag47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46.xml"/><Relationship Id="rId9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xmlns="" id="{7CB4ABBA-4A79-07FF-C935-C2F6A97584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1664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xmlns="" id="{7CB4ABBA-4A79-07FF-C935-C2F6A97584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8399FC35-257A-C4BF-925E-3BAEAB3F19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A Portal V19</a:t>
            </a:r>
            <a:br>
              <a:rPr lang="en-US" dirty="0"/>
            </a:br>
            <a:r>
              <a:rPr lang="en-US" dirty="0"/>
              <a:t>Grace Period Offer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81E1CCE4-EAF7-60D5-D70B-67C9E3FFEFB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370800" rIns="0" bIns="0" rtlCol="0" anchor="t">
            <a:noAutofit/>
          </a:bodyPr>
          <a:lstStyle/>
          <a:p>
            <a:r>
              <a:rPr lang="en-US" dirty="0"/>
              <a:t>Exclusive SUS offer, valid until February 29, 2024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665260E4-EC8C-0FE3-E06C-9CF4561531E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Unrestricted | © Siemens Aktiengesellschaft 2023 | November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6114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xmlns="" id="{055D9D4C-2883-2168-FE6F-068642C274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9824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19" name="Objekt 18" hidden="1">
                        <a:extLst>
                          <a:ext uri="{FF2B5EF4-FFF2-40B4-BE49-F238E27FC236}">
                            <a16:creationId xmlns:a16="http://schemas.microsoft.com/office/drawing/2014/main" xmlns="" id="{055D9D4C-2883-2168-FE6F-068642C274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FF1508A0-5736-7662-3183-E98439091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A Portal V19 Grace Period Offer</a:t>
            </a:r>
            <a:br>
              <a:rPr lang="en-US" dirty="0"/>
            </a:br>
            <a:r>
              <a:rPr lang="en-US" b="0" dirty="0"/>
              <a:t>SUS Download grace period offer – valid until February 29, 2024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B7B3D33-7D3B-1F55-030F-0FA6E60BF4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5" name="Inhaltsplatzhalter 6">
            <a:extLst>
              <a:ext uri="{FF2B5EF4-FFF2-40B4-BE49-F238E27FC236}">
                <a16:creationId xmlns:a16="http://schemas.microsoft.com/office/drawing/2014/main" xmlns="" id="{8C4718D6-EC31-E40A-E98D-A43178889D8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10400" y="1717952"/>
            <a:ext cx="3325858" cy="295465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 sz="2400" dirty="0"/>
              <a:t>We want to make it as easy as possible for our </a:t>
            </a:r>
            <a:r>
              <a:rPr lang="en-US" sz="2400" b="1" dirty="0">
                <a:solidFill>
                  <a:schemeClr val="accent1"/>
                </a:solidFill>
                <a:ea typeface="+mj-ea"/>
                <a:cs typeface="+mj-cs"/>
              </a:rPr>
              <a:t>TIA Portal V18 customers</a:t>
            </a:r>
            <a:r>
              <a:rPr lang="en-US" sz="2400" dirty="0"/>
              <a:t> to switch to TIA Portal V19 as well as keeping their engineering and runtime software up-to-date. 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0F1FC7CC-7EF5-E93A-0BC9-1E64F03A8BD6}"/>
              </a:ext>
            </a:extLst>
          </p:cNvPr>
          <p:cNvSpPr>
            <a:spLocks/>
          </p:cNvSpPr>
          <p:nvPr/>
        </p:nvSpPr>
        <p:spPr>
          <a:xfrm>
            <a:off x="4298950" y="4955127"/>
            <a:ext cx="7488239" cy="648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 anchorCtr="0">
            <a:noAutofit/>
          </a:bodyPr>
          <a:lstStyle/>
          <a:p>
            <a:pPr algn="l" rtl="0">
              <a:spcAft>
                <a:spcPts val="300"/>
              </a:spcAft>
            </a:pPr>
            <a:r>
              <a:rPr lang="en-US" sz="1600" b="1" dirty="0">
                <a:solidFill>
                  <a:schemeClr val="accent1"/>
                </a:solidFill>
              </a:rPr>
              <a:t>Requirement</a:t>
            </a:r>
            <a:r>
              <a:rPr lang="en-US" sz="1600" dirty="0">
                <a:solidFill>
                  <a:schemeClr val="accent1"/>
                </a:solidFill>
              </a:rPr>
              <a:t/>
            </a:r>
            <a:br>
              <a:rPr lang="en-US" sz="1600" dirty="0">
                <a:solidFill>
                  <a:schemeClr val="accent1"/>
                </a:solidFill>
              </a:rPr>
            </a:br>
            <a:r>
              <a:rPr lang="en-US" sz="1200" dirty="0">
                <a:solidFill>
                  <a:schemeClr val="accent1"/>
                </a:solidFill>
              </a:rPr>
              <a:t>You own the current basic product with SUS capability.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xmlns="" id="{5BF3E64D-CCDA-8FE0-CA97-1CFDC7BCF263}"/>
              </a:ext>
            </a:extLst>
          </p:cNvPr>
          <p:cNvGrpSpPr/>
          <p:nvPr/>
        </p:nvGrpSpPr>
        <p:grpSpPr>
          <a:xfrm>
            <a:off x="4298950" y="1717952"/>
            <a:ext cx="7488239" cy="2685955"/>
            <a:chOff x="5382491" y="1431006"/>
            <a:chExt cx="6404698" cy="2685955"/>
          </a:xfrm>
        </p:grpSpPr>
        <p:sp>
          <p:nvSpPr>
            <p:cNvPr id="8" name="Inhaltsplatzhalter 6">
              <a:extLst>
                <a:ext uri="{FF2B5EF4-FFF2-40B4-BE49-F238E27FC236}">
                  <a16:creationId xmlns:a16="http://schemas.microsoft.com/office/drawing/2014/main" xmlns="" id="{66D7E10C-E8EF-79C6-DD9B-14A8721008E8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5382491" y="1431006"/>
              <a:ext cx="6404698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Aft>
                  <a:spcPts val="0"/>
                </a:spcAft>
                <a:buNone/>
              </a:pPr>
              <a:r>
                <a:rPr lang="en-US" sz="1600" b="1" dirty="0"/>
                <a:t>That is why we are offering an attractive SUS grace period offer </a:t>
              </a:r>
              <a:br>
                <a:rPr lang="en-US" sz="1600" b="1" dirty="0"/>
              </a:br>
              <a:r>
                <a:rPr lang="en-US" sz="1600" b="1" dirty="0"/>
                <a:t>for these TIA Portal products as download for a limited time</a:t>
              </a:r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xmlns="" id="{3C7BDC2B-F222-11FD-C242-52E1DFD8D3CA}"/>
                </a:ext>
              </a:extLst>
            </p:cNvPr>
            <p:cNvGrpSpPr>
              <a:grpSpLocks/>
            </p:cNvGrpSpPr>
            <p:nvPr/>
          </p:nvGrpSpPr>
          <p:grpSpPr>
            <a:xfrm>
              <a:off x="5382491" y="2065108"/>
              <a:ext cx="6404698" cy="2051853"/>
              <a:chOff x="5382491" y="2311329"/>
              <a:chExt cx="6404698" cy="2051853"/>
            </a:xfrm>
          </p:grpSpPr>
          <p:sp>
            <p:nvSpPr>
              <p:cNvPr id="10" name="Inhaltsplatzhalter 6">
                <a:extLst>
                  <a:ext uri="{FF2B5EF4-FFF2-40B4-BE49-F238E27FC236}">
                    <a16:creationId xmlns:a16="http://schemas.microsoft.com/office/drawing/2014/main" xmlns="" id="{4E5F8891-5774-B81D-F441-2CDADA83967D}"/>
                  </a:ext>
                </a:extLst>
              </p:cNvPr>
              <p:cNvSpPr txBox="1">
                <a:spLocks/>
              </p:cNvSpPr>
              <p:nvPr>
                <p:custDataLst>
                  <p:tags r:id="rId5"/>
                </p:custDataLst>
              </p:nvPr>
            </p:nvSpPr>
            <p:spPr>
              <a:xfrm>
                <a:off x="5382491" y="2311329"/>
                <a:ext cx="6404698" cy="345399"/>
              </a:xfrm>
              <a:prstGeom prst="rect">
                <a:avLst/>
              </a:prstGeom>
            </p:spPr>
            <p:txBody>
              <a:bodyPr lIns="0" tIns="0" rIns="0" bIns="0" anchor="t">
                <a:noAutofit/>
              </a:bodyPr>
              <a:lstStyle>
                <a:lvl1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90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1200" dirty="0"/>
                  <a:t>The offer is valid for about </a:t>
                </a:r>
                <a:r>
                  <a:rPr lang="en-US" sz="1200" b="1" dirty="0"/>
                  <a:t>12 weeks after delivery release of TIA Portal V19</a:t>
                </a:r>
                <a:r>
                  <a:rPr lang="en-US" sz="1200" dirty="0"/>
                  <a:t>.</a:t>
                </a:r>
                <a:endParaRPr lang="de-DE" dirty="0"/>
              </a:p>
              <a:p>
                <a:pPr marL="0" indent="0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1200" dirty="0"/>
                  <a:t>Order </a:t>
                </a:r>
                <a:r>
                  <a:rPr lang="en-US" sz="1200" b="1" dirty="0"/>
                  <a:t>and </a:t>
                </a:r>
                <a:r>
                  <a:rPr lang="en-US" sz="1200" dirty="0"/>
                  <a:t>shipment </a:t>
                </a:r>
                <a:r>
                  <a:rPr lang="en-US" sz="1200" b="1" dirty="0"/>
                  <a:t>within </a:t>
                </a:r>
                <a:r>
                  <a:rPr lang="en-US" sz="1200" dirty="0"/>
                  <a:t>grace period!</a:t>
                </a:r>
                <a:endParaRPr lang="en-US" dirty="0">
                  <a:cs typeface="Arial"/>
                </a:endParaRPr>
              </a:p>
            </p:txBody>
          </p:sp>
          <p:sp>
            <p:nvSpPr>
              <p:cNvPr id="11" name="Inhaltsplatzhalter 6">
                <a:extLst>
                  <a:ext uri="{FF2B5EF4-FFF2-40B4-BE49-F238E27FC236}">
                    <a16:creationId xmlns:a16="http://schemas.microsoft.com/office/drawing/2014/main" xmlns="" id="{DF1969CC-4E6A-6F08-54C0-828302F2ABD7}"/>
                  </a:ext>
                </a:extLst>
              </p:cNvPr>
              <p:cNvSpPr txBox="1">
                <a:spLocks/>
              </p:cNvSpPr>
              <p:nvPr>
                <p:custDataLst>
                  <p:tags r:id="rId6"/>
                </p:custDataLst>
              </p:nvPr>
            </p:nvSpPr>
            <p:spPr>
              <a:xfrm>
                <a:off x="5382491" y="2861094"/>
                <a:ext cx="6404698" cy="369332"/>
              </a:xfrm>
              <a:prstGeom prst="rect">
                <a:avLst/>
              </a:prstGeom>
            </p:spPr>
            <p:txBody>
              <a:bodyPr lIns="0" tIns="0" rIns="0" bIns="0" anchor="t">
                <a:noAutofit/>
              </a:bodyPr>
              <a:lstStyle>
                <a:lvl1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90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1200" dirty="0"/>
                  <a:t>The SUS grace period offer is available to all customers who order one of the listed </a:t>
                </a:r>
                <a:br>
                  <a:rPr lang="en-US" sz="1200" dirty="0"/>
                </a:br>
                <a:r>
                  <a:rPr lang="en-US" sz="1200" dirty="0"/>
                  <a:t>SUS download products after delivery release of TIA Portal V19.</a:t>
                </a:r>
              </a:p>
            </p:txBody>
          </p:sp>
          <p:sp>
            <p:nvSpPr>
              <p:cNvPr id="12" name="Inhaltsplatzhalter 6">
                <a:extLst>
                  <a:ext uri="{FF2B5EF4-FFF2-40B4-BE49-F238E27FC236}">
                    <a16:creationId xmlns:a16="http://schemas.microsoft.com/office/drawing/2014/main" xmlns="" id="{695A78EE-DCC9-60D4-C7DC-2D7A7887342C}"/>
                  </a:ext>
                </a:extLst>
              </p:cNvPr>
              <p:cNvSpPr txBox="1">
                <a:spLocks/>
              </p:cNvSpPr>
              <p:nvPr>
                <p:custDataLst>
                  <p:tags r:id="rId7"/>
                </p:custDataLst>
              </p:nvPr>
            </p:nvSpPr>
            <p:spPr>
              <a:xfrm>
                <a:off x="5382491" y="3518426"/>
                <a:ext cx="6404698" cy="187424"/>
              </a:xfrm>
              <a:prstGeom prst="rect">
                <a:avLst/>
              </a:prstGeom>
            </p:spPr>
            <p:txBody>
              <a:bodyPr lIns="0" tIns="0" rIns="0" bIns="0">
                <a:noAutofit/>
              </a:bodyPr>
              <a:lstStyle>
                <a:lvl1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90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1200" dirty="0"/>
                  <a:t>The offer is </a:t>
                </a:r>
                <a:r>
                  <a:rPr lang="en-US" sz="1200" b="1" dirty="0"/>
                  <a:t>only valid for the delivery type SUS download</a:t>
                </a:r>
                <a:r>
                  <a:rPr lang="en-US" sz="1200" dirty="0"/>
                  <a:t>.</a:t>
                </a:r>
              </a:p>
            </p:txBody>
          </p:sp>
          <p:sp>
            <p:nvSpPr>
              <p:cNvPr id="13" name="Inhaltsplatzhalter 6">
                <a:extLst>
                  <a:ext uri="{FF2B5EF4-FFF2-40B4-BE49-F238E27FC236}">
                    <a16:creationId xmlns:a16="http://schemas.microsoft.com/office/drawing/2014/main" xmlns="" id="{38405798-0D37-8CDC-C707-D6DBAF2678D7}"/>
                  </a:ext>
                </a:extLst>
              </p:cNvPr>
              <p:cNvSpPr txBox="1">
                <a:spLocks/>
              </p:cNvSpPr>
              <p:nvPr>
                <p:custDataLst>
                  <p:tags r:id="rId8"/>
                </p:custDataLst>
              </p:nvPr>
            </p:nvSpPr>
            <p:spPr>
              <a:xfrm>
                <a:off x="5382491" y="3993850"/>
                <a:ext cx="6404698" cy="369332"/>
              </a:xfrm>
              <a:prstGeom prst="rect">
                <a:avLst/>
              </a:prstGeom>
            </p:spPr>
            <p:txBody>
              <a:bodyPr lIns="0" tIns="0" rIns="0" bIns="0" anchor="t">
                <a:noAutofit/>
              </a:bodyPr>
              <a:lstStyle>
                <a:lvl1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3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2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90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914400" rtl="0" eaLnBrk="1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Aft>
                    <a:spcPts val="0"/>
                  </a:spcAft>
                  <a:buNone/>
                </a:pPr>
                <a:r>
                  <a:rPr lang="en-US" sz="1200" dirty="0"/>
                  <a:t>You will receive a </a:t>
                </a:r>
                <a:r>
                  <a:rPr lang="en-US" sz="1200" b="1" dirty="0"/>
                  <a:t>new SUS initial delivery </a:t>
                </a:r>
                <a:r>
                  <a:rPr lang="en-US" sz="1200" dirty="0"/>
                  <a:t>(CoC, Certificate of Contract) and </a:t>
                </a:r>
                <a:br>
                  <a:rPr lang="en-US" sz="1200" dirty="0"/>
                </a:br>
                <a:r>
                  <a:rPr lang="en-US" sz="1200" dirty="0"/>
                  <a:t>within 1 – 3 business days an </a:t>
                </a:r>
                <a:r>
                  <a:rPr lang="en-US" sz="1200" b="1" dirty="0"/>
                  <a:t>additional free SUS delivery </a:t>
                </a:r>
                <a:r>
                  <a:rPr lang="en-US" sz="1200" dirty="0"/>
                  <a:t>with the V19 upgrade as download. </a:t>
                </a:r>
              </a:p>
            </p:txBody>
          </p:sp>
          <p:cxnSp>
            <p:nvCxnSpPr>
              <p:cNvPr id="14" name="Gerader Verbinder 13">
                <a:extLst>
                  <a:ext uri="{FF2B5EF4-FFF2-40B4-BE49-F238E27FC236}">
                    <a16:creationId xmlns:a16="http://schemas.microsoft.com/office/drawing/2014/main" xmlns="" id="{08735A8A-FA1E-A07C-0EC4-8770D649D0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82491" y="3849850"/>
                <a:ext cx="278707" cy="0"/>
              </a:xfrm>
              <a:prstGeom prst="line">
                <a:avLst/>
              </a:prstGeom>
              <a:ln w="19050">
                <a:solidFill>
                  <a:schemeClr val="accent1"/>
                </a:solidFill>
                <a:headEnd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r Verbinder 14">
                <a:extLst>
                  <a:ext uri="{FF2B5EF4-FFF2-40B4-BE49-F238E27FC236}">
                    <a16:creationId xmlns:a16="http://schemas.microsoft.com/office/drawing/2014/main" xmlns="" id="{BD67112B-E81F-6355-AEB6-0042D13493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82491" y="3374426"/>
                <a:ext cx="278707" cy="0"/>
              </a:xfrm>
              <a:prstGeom prst="line">
                <a:avLst/>
              </a:prstGeom>
              <a:ln w="19050">
                <a:solidFill>
                  <a:schemeClr val="accent1"/>
                </a:solidFill>
                <a:headEnd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15">
                <a:extLst>
                  <a:ext uri="{FF2B5EF4-FFF2-40B4-BE49-F238E27FC236}">
                    <a16:creationId xmlns:a16="http://schemas.microsoft.com/office/drawing/2014/main" xmlns="" id="{D00A1725-F579-A150-9019-959DF24098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82491" y="2717094"/>
                <a:ext cx="278707" cy="0"/>
              </a:xfrm>
              <a:prstGeom prst="line">
                <a:avLst/>
              </a:prstGeom>
              <a:ln w="19050">
                <a:solidFill>
                  <a:schemeClr val="accent1"/>
                </a:solidFill>
                <a:headEnd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xmlns="" id="{7C9AAFC8-3709-0144-DF49-EC84227DA554}"/>
              </a:ext>
            </a:extLst>
          </p:cNvPr>
          <p:cNvSpPr>
            <a:spLocks/>
          </p:cNvSpPr>
          <p:nvPr/>
        </p:nvSpPr>
        <p:spPr>
          <a:xfrm>
            <a:off x="2977433" y="4927346"/>
            <a:ext cx="758825" cy="676778"/>
          </a:xfrm>
          <a:custGeom>
            <a:avLst/>
            <a:gdLst>
              <a:gd name="connsiteX0" fmla="*/ 1368361 w 1997964"/>
              <a:gd name="connsiteY0" fmla="*/ 810006 h 1781937"/>
              <a:gd name="connsiteX1" fmla="*/ 1464754 w 1997964"/>
              <a:gd name="connsiteY1" fmla="*/ 906399 h 1781937"/>
              <a:gd name="connsiteX2" fmla="*/ 859155 w 1997964"/>
              <a:gd name="connsiteY2" fmla="*/ 1511999 h 1781937"/>
              <a:gd name="connsiteX3" fmla="*/ 533209 w 1997964"/>
              <a:gd name="connsiteY3" fmla="*/ 1185862 h 1781937"/>
              <a:gd name="connsiteX4" fmla="*/ 629602 w 1997964"/>
              <a:gd name="connsiteY4" fmla="*/ 1089469 h 1781937"/>
              <a:gd name="connsiteX5" fmla="*/ 838199 w 1997964"/>
              <a:gd name="connsiteY5" fmla="*/ 1270826 h 1781937"/>
              <a:gd name="connsiteX6" fmla="*/ 107918 w 1997964"/>
              <a:gd name="connsiteY6" fmla="*/ 647986 h 1781937"/>
              <a:gd name="connsiteX7" fmla="*/ 107918 w 1997964"/>
              <a:gd name="connsiteY7" fmla="*/ 1673923 h 1781937"/>
              <a:gd name="connsiteX8" fmla="*/ 1889951 w 1997964"/>
              <a:gd name="connsiteY8" fmla="*/ 1673923 h 1781937"/>
              <a:gd name="connsiteX9" fmla="*/ 1889951 w 1997964"/>
              <a:gd name="connsiteY9" fmla="*/ 647986 h 1781937"/>
              <a:gd name="connsiteX10" fmla="*/ 0 w 1997964"/>
              <a:gd name="connsiteY10" fmla="*/ 539972 h 1781937"/>
              <a:gd name="connsiteX11" fmla="*/ 1997964 w 1997964"/>
              <a:gd name="connsiteY11" fmla="*/ 539972 h 1781937"/>
              <a:gd name="connsiteX12" fmla="*/ 1997964 w 1997964"/>
              <a:gd name="connsiteY12" fmla="*/ 1781937 h 1781937"/>
              <a:gd name="connsiteX13" fmla="*/ 0 w 1997964"/>
              <a:gd name="connsiteY13" fmla="*/ 1781937 h 1781937"/>
              <a:gd name="connsiteX14" fmla="*/ 324040 w 1997964"/>
              <a:gd name="connsiteY14" fmla="*/ 0 h 1781937"/>
              <a:gd name="connsiteX15" fmla="*/ 485965 w 1997964"/>
              <a:gd name="connsiteY15" fmla="*/ 0 h 1781937"/>
              <a:gd name="connsiteX16" fmla="*/ 485965 w 1997964"/>
              <a:gd name="connsiteY16" fmla="*/ 162020 h 1781937"/>
              <a:gd name="connsiteX17" fmla="*/ 1511999 w 1997964"/>
              <a:gd name="connsiteY17" fmla="*/ 162020 h 1781937"/>
              <a:gd name="connsiteX18" fmla="*/ 1511999 w 1997964"/>
              <a:gd name="connsiteY18" fmla="*/ 0 h 1781937"/>
              <a:gd name="connsiteX19" fmla="*/ 1674019 w 1997964"/>
              <a:gd name="connsiteY19" fmla="*/ 0 h 1781937"/>
              <a:gd name="connsiteX20" fmla="*/ 1674019 w 1997964"/>
              <a:gd name="connsiteY20" fmla="*/ 162020 h 1781937"/>
              <a:gd name="connsiteX21" fmla="*/ 1997964 w 1997964"/>
              <a:gd name="connsiteY21" fmla="*/ 162020 h 1781937"/>
              <a:gd name="connsiteX22" fmla="*/ 1997964 w 1997964"/>
              <a:gd name="connsiteY22" fmla="*/ 431959 h 1781937"/>
              <a:gd name="connsiteX23" fmla="*/ 0 w 1997964"/>
              <a:gd name="connsiteY23" fmla="*/ 431959 h 1781937"/>
              <a:gd name="connsiteX24" fmla="*/ 0 w 1997964"/>
              <a:gd name="connsiteY24" fmla="*/ 162020 h 1781937"/>
              <a:gd name="connsiteX25" fmla="*/ 324040 w 1997964"/>
              <a:gd name="connsiteY25" fmla="*/ 162020 h 178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997964" h="1781937">
                <a:moveTo>
                  <a:pt x="1368361" y="810006"/>
                </a:moveTo>
                <a:lnTo>
                  <a:pt x="1464754" y="906399"/>
                </a:lnTo>
                <a:lnTo>
                  <a:pt x="859155" y="1511999"/>
                </a:lnTo>
                <a:lnTo>
                  <a:pt x="533209" y="1185862"/>
                </a:lnTo>
                <a:lnTo>
                  <a:pt x="629602" y="1089469"/>
                </a:lnTo>
                <a:lnTo>
                  <a:pt x="838199" y="1270826"/>
                </a:lnTo>
                <a:close/>
                <a:moveTo>
                  <a:pt x="107918" y="647986"/>
                </a:moveTo>
                <a:lnTo>
                  <a:pt x="107918" y="1673923"/>
                </a:lnTo>
                <a:lnTo>
                  <a:pt x="1889951" y="1673923"/>
                </a:lnTo>
                <a:lnTo>
                  <a:pt x="1889951" y="647986"/>
                </a:lnTo>
                <a:close/>
                <a:moveTo>
                  <a:pt x="0" y="539972"/>
                </a:moveTo>
                <a:lnTo>
                  <a:pt x="1997964" y="539972"/>
                </a:lnTo>
                <a:lnTo>
                  <a:pt x="1997964" y="1781937"/>
                </a:lnTo>
                <a:lnTo>
                  <a:pt x="0" y="1781937"/>
                </a:lnTo>
                <a:close/>
                <a:moveTo>
                  <a:pt x="324040" y="0"/>
                </a:moveTo>
                <a:lnTo>
                  <a:pt x="485965" y="0"/>
                </a:lnTo>
                <a:lnTo>
                  <a:pt x="485965" y="162020"/>
                </a:lnTo>
                <a:lnTo>
                  <a:pt x="1511999" y="162020"/>
                </a:lnTo>
                <a:lnTo>
                  <a:pt x="1511999" y="0"/>
                </a:lnTo>
                <a:lnTo>
                  <a:pt x="1674019" y="0"/>
                </a:lnTo>
                <a:lnTo>
                  <a:pt x="1674019" y="162020"/>
                </a:lnTo>
                <a:lnTo>
                  <a:pt x="1997964" y="162020"/>
                </a:lnTo>
                <a:lnTo>
                  <a:pt x="1997964" y="431959"/>
                </a:lnTo>
                <a:lnTo>
                  <a:pt x="0" y="431959"/>
                </a:lnTo>
                <a:lnTo>
                  <a:pt x="0" y="162020"/>
                </a:lnTo>
                <a:lnTo>
                  <a:pt x="324040" y="162020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>
              <a:latin typeface="+mn-lt"/>
            </a:endParaRP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xmlns="" id="{F6EC63FA-7140-DAF8-782F-950EFED7C5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75778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xmlns="" id="{75CC2904-5146-E01E-FF33-4F77D0DE5F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164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xmlns="" id="{75CC2904-5146-E01E-FF33-4F77D0DE5F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9DAD89D6-92DD-8BC3-A186-BEA793AC0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 vert="horz"/>
          <a:lstStyle/>
          <a:p>
            <a:r>
              <a:rPr lang="en-US" dirty="0"/>
              <a:t>SUS Download &amp; SUS Manager</a:t>
            </a:r>
            <a:br>
              <a:rPr lang="en-US" dirty="0"/>
            </a:br>
            <a:r>
              <a:rPr lang="en-US" b="0" dirty="0"/>
              <a:t>Your Benefit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7A2713FF-D315-C73A-730D-2EA53EB5221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xmlns="" id="{77E1DD10-CA44-2354-3EA2-5C4CAD4726A9}"/>
              </a:ext>
            </a:extLst>
          </p:cNvPr>
          <p:cNvSpPr>
            <a:spLocks/>
          </p:cNvSpPr>
          <p:nvPr/>
        </p:nvSpPr>
        <p:spPr>
          <a:xfrm>
            <a:off x="4166971" y="1662545"/>
            <a:ext cx="3844637" cy="3844637"/>
          </a:xfrm>
          <a:prstGeom prst="ellipse">
            <a:avLst/>
          </a:prstGeom>
          <a:noFill/>
          <a:ln w="1270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 sz="5400" b="1" dirty="0">
                <a:solidFill>
                  <a:schemeClr val="accent1"/>
                </a:solidFill>
              </a:rPr>
              <a:t>SUS</a:t>
            </a:r>
          </a:p>
        </p:txBody>
      </p:sp>
      <p:sp>
        <p:nvSpPr>
          <p:cNvPr id="7" name="Bogen 6">
            <a:extLst>
              <a:ext uri="{FF2B5EF4-FFF2-40B4-BE49-F238E27FC236}">
                <a16:creationId xmlns:a16="http://schemas.microsoft.com/office/drawing/2014/main" xmlns="" id="{DADB45AB-EAA3-1FA4-C625-7DDCC9501656}"/>
              </a:ext>
            </a:extLst>
          </p:cNvPr>
          <p:cNvSpPr/>
          <p:nvPr/>
        </p:nvSpPr>
        <p:spPr>
          <a:xfrm>
            <a:off x="4166971" y="1896125"/>
            <a:ext cx="3646776" cy="3646776"/>
          </a:xfrm>
          <a:prstGeom prst="arc">
            <a:avLst/>
          </a:prstGeom>
          <a:ln w="952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Bogen 7">
            <a:extLst>
              <a:ext uri="{FF2B5EF4-FFF2-40B4-BE49-F238E27FC236}">
                <a16:creationId xmlns:a16="http://schemas.microsoft.com/office/drawing/2014/main" xmlns="" id="{0D74EF1B-37F0-3ACD-0A7F-7463F6154271}"/>
              </a:ext>
            </a:extLst>
          </p:cNvPr>
          <p:cNvSpPr/>
          <p:nvPr/>
        </p:nvSpPr>
        <p:spPr>
          <a:xfrm rot="10800000">
            <a:off x="4364832" y="1626826"/>
            <a:ext cx="3646776" cy="3646776"/>
          </a:xfrm>
          <a:prstGeom prst="arc">
            <a:avLst/>
          </a:prstGeom>
          <a:ln w="9525">
            <a:solidFill>
              <a:schemeClr val="accent1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xmlns="" id="{211F41C5-9CAC-D93B-53D4-A96714D6457D}"/>
              </a:ext>
            </a:extLst>
          </p:cNvPr>
          <p:cNvSpPr>
            <a:spLocks/>
          </p:cNvSpPr>
          <p:nvPr/>
        </p:nvSpPr>
        <p:spPr>
          <a:xfrm>
            <a:off x="3925166" y="1420739"/>
            <a:ext cx="4328248" cy="4328248"/>
          </a:xfrm>
          <a:prstGeom prst="ellipse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endParaRPr lang="en-US" sz="5400" b="1" dirty="0">
              <a:solidFill>
                <a:schemeClr val="accent1"/>
              </a:solidFill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xmlns="" id="{E1E5BFC4-9F6B-BD35-1EBB-225091E14782}"/>
              </a:ext>
            </a:extLst>
          </p:cNvPr>
          <p:cNvSpPr>
            <a:spLocks/>
          </p:cNvSpPr>
          <p:nvPr/>
        </p:nvSpPr>
        <p:spPr>
          <a:xfrm>
            <a:off x="4445793" y="1929979"/>
            <a:ext cx="236827" cy="236827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xmlns="" id="{757A8087-8454-2E13-F8EA-62076FDF7A64}"/>
              </a:ext>
            </a:extLst>
          </p:cNvPr>
          <p:cNvSpPr>
            <a:spLocks/>
          </p:cNvSpPr>
          <p:nvPr/>
        </p:nvSpPr>
        <p:spPr>
          <a:xfrm>
            <a:off x="3812381" y="3466450"/>
            <a:ext cx="236827" cy="236827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xmlns="" id="{57764BEA-E951-A2CB-581C-6E69909F75CE}"/>
              </a:ext>
            </a:extLst>
          </p:cNvPr>
          <p:cNvSpPr>
            <a:spLocks/>
          </p:cNvSpPr>
          <p:nvPr/>
        </p:nvSpPr>
        <p:spPr>
          <a:xfrm>
            <a:off x="4445793" y="5002921"/>
            <a:ext cx="236827" cy="236827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xmlns="" id="{869E5999-8AE1-B5D2-E37B-7DBDB401CEDE}"/>
              </a:ext>
            </a:extLst>
          </p:cNvPr>
          <p:cNvSpPr>
            <a:spLocks/>
          </p:cNvSpPr>
          <p:nvPr/>
        </p:nvSpPr>
        <p:spPr>
          <a:xfrm>
            <a:off x="7494659" y="1929979"/>
            <a:ext cx="236827" cy="236827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xmlns="" id="{5BB737D8-A3C0-707A-8777-074BBD1D856D}"/>
              </a:ext>
            </a:extLst>
          </p:cNvPr>
          <p:cNvSpPr>
            <a:spLocks/>
          </p:cNvSpPr>
          <p:nvPr/>
        </p:nvSpPr>
        <p:spPr>
          <a:xfrm>
            <a:off x="8142792" y="3466450"/>
            <a:ext cx="236827" cy="236827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xmlns="" id="{B6877847-AB38-6240-D7FA-6BF1EF8B667A}"/>
              </a:ext>
            </a:extLst>
          </p:cNvPr>
          <p:cNvSpPr txBox="1">
            <a:spLocks/>
          </p:cNvSpPr>
          <p:nvPr/>
        </p:nvSpPr>
        <p:spPr>
          <a:xfrm>
            <a:off x="8609642" y="2121524"/>
            <a:ext cx="3171957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chemeClr val="tx1"/>
                </a:solidFill>
              </a:rPr>
              <a:t>All at once</a:t>
            </a:r>
          </a:p>
          <a:p>
            <a:pPr algn="l"/>
            <a:r>
              <a:rPr lang="en-US" sz="1200" dirty="0"/>
              <a:t>Upgrades of different SUS Download contracts (e.g., WinCC &amp; STEP 7 Prof.) are provided </a:t>
            </a:r>
            <a:br>
              <a:rPr lang="en-US" sz="1200" dirty="0"/>
            </a:br>
            <a:r>
              <a:rPr lang="en-US" sz="1200" dirty="0"/>
              <a:t>for download at the same time.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xmlns="" id="{49CD7FBB-7CB6-D344-FC63-62ADBD438099}"/>
              </a:ext>
            </a:extLst>
          </p:cNvPr>
          <p:cNvSpPr txBox="1">
            <a:spLocks/>
          </p:cNvSpPr>
          <p:nvPr/>
        </p:nvSpPr>
        <p:spPr>
          <a:xfrm>
            <a:off x="8609642" y="3654234"/>
            <a:ext cx="3171957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chemeClr val="tx1"/>
                </a:solidFill>
              </a:rPr>
              <a:t>Transparent</a:t>
            </a:r>
          </a:p>
          <a:p>
            <a:pPr algn="l"/>
            <a:r>
              <a:rPr lang="en-US" sz="1200" dirty="0"/>
              <a:t>The SUS Manager online platform </a:t>
            </a:r>
            <a:br>
              <a:rPr lang="en-US" sz="1200" dirty="0"/>
            </a:br>
            <a:r>
              <a:rPr lang="en-US" sz="1200" dirty="0"/>
              <a:t>gives you transparency about your </a:t>
            </a:r>
            <a:br>
              <a:rPr lang="en-US" sz="1200" dirty="0"/>
            </a:br>
            <a:r>
              <a:rPr lang="en-US" sz="1200" dirty="0"/>
              <a:t>SUS contracts and allows you to modify </a:t>
            </a:r>
            <a:br>
              <a:rPr lang="en-US" sz="1200" dirty="0"/>
            </a:br>
            <a:r>
              <a:rPr lang="en-US" sz="1200" dirty="0"/>
              <a:t>your contracts on your own.</a:t>
            </a:r>
          </a:p>
        </p:txBody>
      </p:sp>
      <p:sp>
        <p:nvSpPr>
          <p:cNvPr id="20" name="Rechteck 19">
            <a:hlinkClick r:id="rId7"/>
            <a:extLst>
              <a:ext uri="{FF2B5EF4-FFF2-40B4-BE49-F238E27FC236}">
                <a16:creationId xmlns:a16="http://schemas.microsoft.com/office/drawing/2014/main" xmlns="" id="{5920D1F1-F6CF-3CF2-7BC3-44389905E4EB}"/>
              </a:ext>
            </a:extLst>
          </p:cNvPr>
          <p:cNvSpPr>
            <a:spLocks/>
          </p:cNvSpPr>
          <p:nvPr/>
        </p:nvSpPr>
        <p:spPr>
          <a:xfrm>
            <a:off x="8609643" y="4750276"/>
            <a:ext cx="2954480" cy="3300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>
            <a:noAutofit/>
          </a:bodyPr>
          <a:lstStyle/>
          <a:p>
            <a:pPr algn="l"/>
            <a:r>
              <a:rPr lang="en-US" sz="1200" dirty="0">
                <a:solidFill>
                  <a:schemeClr val="accent1"/>
                </a:solidFill>
              </a:rPr>
              <a:t>The SUS Manager </a:t>
            </a:r>
          </a:p>
        </p:txBody>
      </p:sp>
      <p:sp>
        <p:nvSpPr>
          <p:cNvPr id="21" name="SAGD, maus, mouse, pfeil, arrow, klick">
            <a:extLst>
              <a:ext uri="{FF2B5EF4-FFF2-40B4-BE49-F238E27FC236}">
                <a16:creationId xmlns:a16="http://schemas.microsoft.com/office/drawing/2014/main" xmlns="" id="{09F9C36B-81E4-2561-F8FE-7A6E87D77263}"/>
              </a:ext>
            </a:extLst>
          </p:cNvPr>
          <p:cNvSpPr/>
          <p:nvPr/>
        </p:nvSpPr>
        <p:spPr>
          <a:xfrm>
            <a:off x="11146406" y="4904167"/>
            <a:ext cx="308136" cy="308136"/>
          </a:xfrm>
          <a:custGeom>
            <a:avLst/>
            <a:gdLst>
              <a:gd name="connsiteX0" fmla="*/ 410645 w 410644"/>
              <a:gd name="connsiteY0" fmla="*/ 366246 h 410644"/>
              <a:gd name="connsiteX1" fmla="*/ 258534 w 410644"/>
              <a:gd name="connsiteY1" fmla="*/ 182506 h 410644"/>
              <a:gd name="connsiteX2" fmla="*/ 355837 w 410644"/>
              <a:gd name="connsiteY2" fmla="*/ 111816 h 410644"/>
              <a:gd name="connsiteX3" fmla="*/ 0 w 410644"/>
              <a:gd name="connsiteY3" fmla="*/ 0 h 410644"/>
              <a:gd name="connsiteX4" fmla="*/ 111816 w 410644"/>
              <a:gd name="connsiteY4" fmla="*/ 355837 h 410644"/>
              <a:gd name="connsiteX5" fmla="*/ 182506 w 410644"/>
              <a:gd name="connsiteY5" fmla="*/ 258534 h 410644"/>
              <a:gd name="connsiteX6" fmla="*/ 366246 w 410644"/>
              <a:gd name="connsiteY6" fmla="*/ 410645 h 410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0644" h="410644">
                <a:moveTo>
                  <a:pt x="410645" y="366246"/>
                </a:moveTo>
                <a:lnTo>
                  <a:pt x="258534" y="182506"/>
                </a:lnTo>
                <a:lnTo>
                  <a:pt x="355837" y="111816"/>
                </a:lnTo>
                <a:lnTo>
                  <a:pt x="0" y="0"/>
                </a:lnTo>
                <a:lnTo>
                  <a:pt x="111816" y="355837"/>
                </a:lnTo>
                <a:lnTo>
                  <a:pt x="182506" y="258534"/>
                </a:lnTo>
                <a:lnTo>
                  <a:pt x="366246" y="410645"/>
                </a:lnTo>
                <a:close/>
              </a:path>
            </a:pathLst>
          </a:custGeom>
          <a:solidFill>
            <a:schemeClr val="accent1"/>
          </a:solidFill>
          <a:ln w="2681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xmlns="" id="{EDC113D5-4EA0-82F6-DD31-A7582A14F170}"/>
              </a:ext>
            </a:extLst>
          </p:cNvPr>
          <p:cNvCxnSpPr>
            <a:cxnSpLocks/>
            <a:endCxn id="13" idx="6"/>
          </p:cNvCxnSpPr>
          <p:nvPr/>
        </p:nvCxnSpPr>
        <p:spPr>
          <a:xfrm flipH="1">
            <a:off x="7731486" y="2048393"/>
            <a:ext cx="4050113" cy="0"/>
          </a:xfrm>
          <a:prstGeom prst="line">
            <a:avLst/>
          </a:prstGeom>
          <a:ln w="9525">
            <a:solidFill>
              <a:srgbClr val="CCCCD4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xmlns="" id="{6E6AA1E9-1873-533F-4BFA-E403F582BD00}"/>
              </a:ext>
            </a:extLst>
          </p:cNvPr>
          <p:cNvCxnSpPr>
            <a:cxnSpLocks/>
          </p:cNvCxnSpPr>
          <p:nvPr/>
        </p:nvCxnSpPr>
        <p:spPr>
          <a:xfrm flipH="1">
            <a:off x="8379619" y="3584863"/>
            <a:ext cx="3401980" cy="1"/>
          </a:xfrm>
          <a:prstGeom prst="line">
            <a:avLst/>
          </a:prstGeom>
          <a:ln w="9525">
            <a:solidFill>
              <a:srgbClr val="CCCCD4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4">
            <a:extLst>
              <a:ext uri="{FF2B5EF4-FFF2-40B4-BE49-F238E27FC236}">
                <a16:creationId xmlns:a16="http://schemas.microsoft.com/office/drawing/2014/main" xmlns="" id="{2C4A4F63-09C4-DAE6-6013-CBA63DAE55AA}"/>
              </a:ext>
            </a:extLst>
          </p:cNvPr>
          <p:cNvSpPr txBox="1">
            <a:spLocks/>
          </p:cNvSpPr>
          <p:nvPr/>
        </p:nvSpPr>
        <p:spPr>
          <a:xfrm>
            <a:off x="410400" y="2121524"/>
            <a:ext cx="317195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chemeClr val="tx1"/>
                </a:solidFill>
              </a:rPr>
              <a:t>Fast</a:t>
            </a:r>
          </a:p>
          <a:p>
            <a:pPr algn="l"/>
            <a:r>
              <a:rPr lang="en-US" sz="1200" dirty="0"/>
              <a:t>SUS Download Upgrades are available </a:t>
            </a:r>
            <a:br>
              <a:rPr lang="en-US" sz="1200" dirty="0"/>
            </a:br>
            <a:r>
              <a:rPr lang="en-US" sz="1200" dirty="0"/>
              <a:t>for download right from the release day.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xmlns="" id="{6F5734AB-CABE-EB22-98B3-D8EDB91A49A6}"/>
              </a:ext>
            </a:extLst>
          </p:cNvPr>
          <p:cNvCxnSpPr>
            <a:cxnSpLocks/>
          </p:cNvCxnSpPr>
          <p:nvPr/>
        </p:nvCxnSpPr>
        <p:spPr>
          <a:xfrm flipH="1">
            <a:off x="410400" y="2048393"/>
            <a:ext cx="4050113" cy="0"/>
          </a:xfrm>
          <a:prstGeom prst="line">
            <a:avLst/>
          </a:prstGeom>
          <a:ln w="9525">
            <a:solidFill>
              <a:srgbClr val="CCCCD4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xmlns="" id="{B34705CD-7B7C-AD83-AA6D-3EC9322A4606}"/>
              </a:ext>
            </a:extLst>
          </p:cNvPr>
          <p:cNvSpPr txBox="1">
            <a:spLocks/>
          </p:cNvSpPr>
          <p:nvPr/>
        </p:nvSpPr>
        <p:spPr>
          <a:xfrm>
            <a:off x="410400" y="3657994"/>
            <a:ext cx="317195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b="1" dirty="0">
                <a:solidFill>
                  <a:schemeClr val="tx1"/>
                </a:solidFill>
              </a:rPr>
              <a:t>Pro active</a:t>
            </a:r>
          </a:p>
          <a:p>
            <a:pPr algn="l"/>
            <a:r>
              <a:rPr lang="en-US" sz="1200" dirty="0"/>
              <a:t>You will be informed directly </a:t>
            </a:r>
            <a:br>
              <a:rPr lang="en-US" sz="1200" dirty="0"/>
            </a:br>
            <a:r>
              <a:rPr lang="en-US" sz="1200" dirty="0"/>
              <a:t>by email about available downloads.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xmlns="" id="{66711A41-1DA6-DA6D-603F-0607C6BF3018}"/>
              </a:ext>
            </a:extLst>
          </p:cNvPr>
          <p:cNvCxnSpPr>
            <a:cxnSpLocks/>
            <a:stCxn id="11" idx="2"/>
          </p:cNvCxnSpPr>
          <p:nvPr/>
        </p:nvCxnSpPr>
        <p:spPr>
          <a:xfrm flipH="1" flipV="1">
            <a:off x="410400" y="3584863"/>
            <a:ext cx="3401981" cy="1"/>
          </a:xfrm>
          <a:prstGeom prst="line">
            <a:avLst/>
          </a:prstGeom>
          <a:ln w="9525">
            <a:solidFill>
              <a:srgbClr val="CCCCD4"/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uppieren 45">
            <a:extLst>
              <a:ext uri="{FF2B5EF4-FFF2-40B4-BE49-F238E27FC236}">
                <a16:creationId xmlns:a16="http://schemas.microsoft.com/office/drawing/2014/main" xmlns="" id="{6929F5F5-5EF2-29AF-3AB4-8D046D8A6D14}"/>
              </a:ext>
            </a:extLst>
          </p:cNvPr>
          <p:cNvGrpSpPr/>
          <p:nvPr/>
        </p:nvGrpSpPr>
        <p:grpSpPr>
          <a:xfrm>
            <a:off x="410400" y="5118391"/>
            <a:ext cx="4035393" cy="688684"/>
            <a:chOff x="410400" y="5463167"/>
            <a:chExt cx="4035393" cy="688684"/>
          </a:xfrm>
        </p:grpSpPr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xmlns="" id="{D5AA4E50-4E78-5C79-DE33-B585E2F15A85}"/>
                </a:ext>
              </a:extLst>
            </p:cNvPr>
            <p:cNvSpPr txBox="1">
              <a:spLocks/>
            </p:cNvSpPr>
            <p:nvPr/>
          </p:nvSpPr>
          <p:spPr>
            <a:xfrm>
              <a:off x="410400" y="5536298"/>
              <a:ext cx="3171957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b="1" dirty="0">
                  <a:solidFill>
                    <a:schemeClr val="tx1"/>
                  </a:solidFill>
                </a:rPr>
                <a:t>Cost-effective</a:t>
              </a:r>
            </a:p>
            <a:p>
              <a:pPr algn="l"/>
              <a:r>
                <a:rPr lang="en-US" sz="1200" dirty="0"/>
                <a:t>SUS Download and the SUS Manager </a:t>
              </a:r>
              <a:br>
                <a:rPr lang="en-US" sz="1200" dirty="0"/>
              </a:br>
              <a:r>
                <a:rPr lang="en-US" sz="1200" dirty="0"/>
                <a:t>saves time, therefore reduces cost and effort. </a:t>
              </a:r>
            </a:p>
          </p:txBody>
        </p: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xmlns="" id="{CC40FCE1-D32E-C707-B3B7-71D38F573F0C}"/>
                </a:ext>
              </a:extLst>
            </p:cNvPr>
            <p:cNvCxnSpPr>
              <a:cxnSpLocks/>
              <a:stCxn id="12" idx="2"/>
            </p:cNvCxnSpPr>
            <p:nvPr/>
          </p:nvCxnSpPr>
          <p:spPr>
            <a:xfrm flipH="1" flipV="1">
              <a:off x="410400" y="5463167"/>
              <a:ext cx="4035393" cy="2944"/>
            </a:xfrm>
            <a:prstGeom prst="line">
              <a:avLst/>
            </a:prstGeom>
            <a:ln w="9525">
              <a:solidFill>
                <a:srgbClr val="CCCCD4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FA2DA999-A6EA-C02D-4EF1-1660FCA7FA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91524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>
            <a:extLst>
              <a:ext uri="{FF2B5EF4-FFF2-40B4-BE49-F238E27FC236}">
                <a16:creationId xmlns:a16="http://schemas.microsoft.com/office/drawing/2014/main" xmlns="" id="{363198B3-7996-D52D-7366-13710A5486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885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Folie" r:id="rId34" imgW="344" imgH="345" progId="TCLayout.ActiveDocument.1">
                  <p:embed/>
                </p:oleObj>
              </mc:Choice>
              <mc:Fallback>
                <p:oleObj name="think-cell Folie" r:id="rId34" imgW="344" imgH="345" progId="TCLayout.ActiveDocument.1">
                  <p:embed/>
                  <p:pic>
                    <p:nvPicPr>
                      <p:cNvPr id="38" name="Objekt 37" hidden="1">
                        <a:extLst>
                          <a:ext uri="{FF2B5EF4-FFF2-40B4-BE49-F238E27FC236}">
                            <a16:creationId xmlns:a16="http://schemas.microsoft.com/office/drawing/2014/main" xmlns="" id="{363198B3-7996-D52D-7366-13710A548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484FC6D3-E6FC-E553-512C-EC073C5D1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US – When is the best point in time to start?</a:t>
            </a:r>
            <a:br>
              <a:rPr lang="en-US" dirty="0"/>
            </a:br>
            <a:r>
              <a:rPr lang="en-US" b="0" dirty="0"/>
              <a:t>Now, straight with the delivery release of TIA Portal V19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E2F0177E-B071-2B5E-7E07-A883C5C3093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cxnSp>
        <p:nvCxnSpPr>
          <p:cNvPr id="5" name="Gerade Verbindung 87">
            <a:extLst>
              <a:ext uri="{FF2B5EF4-FFF2-40B4-BE49-F238E27FC236}">
                <a16:creationId xmlns:a16="http://schemas.microsoft.com/office/drawing/2014/main" xmlns="" id="{696B56CF-3A4A-2B5F-1B3A-63C5BC8B0B80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650794" y="4140037"/>
            <a:ext cx="7374019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CCCCD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Gerade Verbindung 87">
            <a:extLst>
              <a:ext uri="{FF2B5EF4-FFF2-40B4-BE49-F238E27FC236}">
                <a16:creationId xmlns:a16="http://schemas.microsoft.com/office/drawing/2014/main" xmlns="" id="{B6C62E98-AFBC-72BB-AC56-D998A56D1169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650794" y="3514341"/>
            <a:ext cx="7374019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CCCCD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Gerade Verbindung 87">
            <a:extLst>
              <a:ext uri="{FF2B5EF4-FFF2-40B4-BE49-F238E27FC236}">
                <a16:creationId xmlns:a16="http://schemas.microsoft.com/office/drawing/2014/main" xmlns="" id="{1CF90A1B-1F0C-19B3-6067-28F816517770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>
            <a:off x="650794" y="2888644"/>
            <a:ext cx="7374019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CCCCD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Gerade Verbindung 87">
            <a:extLst>
              <a:ext uri="{FF2B5EF4-FFF2-40B4-BE49-F238E27FC236}">
                <a16:creationId xmlns:a16="http://schemas.microsoft.com/office/drawing/2014/main" xmlns="" id="{E20CF548-CAFE-6465-D7D4-45E4E2CECB2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>
            <a:off x="650794" y="2262948"/>
            <a:ext cx="7374019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CCCCD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87">
            <a:extLst>
              <a:ext uri="{FF2B5EF4-FFF2-40B4-BE49-F238E27FC236}">
                <a16:creationId xmlns:a16="http://schemas.microsoft.com/office/drawing/2014/main" xmlns="" id="{31967DE8-DE06-6E35-C235-A1A246A0F934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650794" y="1637252"/>
            <a:ext cx="7374019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CCCCD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xmlns="" id="{024BBC25-6863-7757-61E2-0C1A1FC4EB3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830972" y="3517493"/>
            <a:ext cx="2035555" cy="124648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b="1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4D07B6A7-ECE6-87A4-A696-BAC128653C0B}"/>
              </a:ext>
            </a:extLst>
          </p:cNvPr>
          <p:cNvSpPr>
            <a:spLocks/>
          </p:cNvSpPr>
          <p:nvPr/>
        </p:nvSpPr>
        <p:spPr>
          <a:xfrm>
            <a:off x="411163" y="5342744"/>
            <a:ext cx="11376026" cy="4643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 anchorCtr="0">
            <a:noAutofit/>
          </a:bodyPr>
          <a:lstStyle/>
          <a:p>
            <a:pPr algn="l">
              <a:spcAft>
                <a:spcPts val="300"/>
              </a:spcAft>
            </a:pPr>
            <a:r>
              <a:rPr lang="en-US" sz="1600" b="1" dirty="0">
                <a:solidFill>
                  <a:schemeClr val="accent1"/>
                </a:solidFill>
              </a:rPr>
              <a:t>… and best of all, </a:t>
            </a:r>
            <a:r>
              <a:rPr lang="en-US" sz="1600" dirty="0">
                <a:solidFill>
                  <a:schemeClr val="accent1"/>
                </a:solidFill>
              </a:rPr>
              <a:t>all future service packs and upgrades within the contract period are included!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xmlns="" id="{9402B67C-CF72-57B3-20FD-98BFB060981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044266" y="4141793"/>
            <a:ext cx="253926" cy="623943"/>
          </a:xfrm>
          <a:prstGeom prst="rect">
            <a:avLst/>
          </a:prstGeom>
          <a:pattFill prst="wdUpDiag">
            <a:fgClr>
              <a:schemeClr val="accent2"/>
            </a:fgClr>
            <a:bgClr>
              <a:schemeClr val="bg1"/>
            </a:bgClr>
          </a:patt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799" b="1" dirty="0" err="1">
              <a:latin typeface="+mn-lt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xmlns="" id="{3DE3BA8B-C66C-0D35-85E9-046137F1E29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301216" y="1631808"/>
            <a:ext cx="2530860" cy="3132174"/>
          </a:xfrm>
          <a:prstGeom prst="rect">
            <a:avLst/>
          </a:prstGeom>
          <a:pattFill prst="wdUpDiag">
            <a:fgClr>
              <a:schemeClr val="accent3"/>
            </a:fgClr>
            <a:bgClr>
              <a:schemeClr val="bg1"/>
            </a:bgClr>
          </a:pattFill>
          <a:ln>
            <a:noFill/>
          </a:ln>
          <a:effectLst/>
        </p:spPr>
        <p:txBody>
          <a:bodyPr wrap="square" lIns="71963" tIns="53972" rIns="71963" bIns="53972" numCol="1" spcCol="72000" rtlCol="0" anchor="t" anchorCtr="0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999" b="1" dirty="0">
              <a:latin typeface="+mn-lt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xmlns="" id="{793EE76A-2475-A437-2D3F-F741ADF367E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301217" y="4140038"/>
            <a:ext cx="2530859" cy="62394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799" b="1" dirty="0" err="1">
              <a:latin typeface="+mn-lt"/>
            </a:endParaRPr>
          </a:p>
        </p:txBody>
      </p:sp>
      <p:cxnSp>
        <p:nvCxnSpPr>
          <p:cNvPr id="15" name="Gerade Verbindung 68">
            <a:extLst>
              <a:ext uri="{FF2B5EF4-FFF2-40B4-BE49-F238E27FC236}">
                <a16:creationId xmlns:a16="http://schemas.microsoft.com/office/drawing/2014/main" xmlns="" id="{B6757BA4-0E7C-5F30-65D6-1F296C2607F4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722169" y="1413912"/>
            <a:ext cx="0" cy="3351824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CCCCD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xmlns="" id="{65183242-D10F-7BA0-8450-CB00CF3C4611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4408750" y="4393301"/>
            <a:ext cx="315791" cy="18453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ctr"/>
            <a:r>
              <a:rPr lang="en-US" sz="1199" b="1" dirty="0">
                <a:solidFill>
                  <a:schemeClr val="bg1"/>
                </a:solidFill>
                <a:latin typeface="+mn-lt"/>
              </a:rPr>
              <a:t>SU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xmlns="" id="{F86871BD-F66F-AAD7-0366-6270C5F91936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401891" y="1560372"/>
            <a:ext cx="211596" cy="15376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r>
              <a:rPr lang="en-US" sz="999" dirty="0">
                <a:latin typeface="+mn-lt"/>
              </a:rPr>
              <a:t>100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xmlns="" id="{53A63117-F14B-193E-4792-ED69B8754966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472423" y="2186068"/>
            <a:ext cx="141064" cy="15376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r>
              <a:rPr lang="en-US" sz="999" dirty="0">
                <a:latin typeface="+mn-lt"/>
              </a:rPr>
              <a:t>80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xmlns="" id="{C182E8B4-20DE-3290-A7CD-B42FB16C98DF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472423" y="2811764"/>
            <a:ext cx="141064" cy="15376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r>
              <a:rPr lang="en-US" sz="999" dirty="0">
                <a:latin typeface="+mn-lt"/>
              </a:rPr>
              <a:t>60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xmlns="" id="{CCDDE08E-F279-3EED-966C-A4C1E4F548B3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472423" y="3437461"/>
            <a:ext cx="141064" cy="15376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r>
              <a:rPr lang="en-US" sz="999" dirty="0">
                <a:latin typeface="+mn-lt"/>
              </a:rPr>
              <a:t>40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xmlns="" id="{4D979664-5927-1559-7B40-C0CFF980C454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472423" y="4063157"/>
            <a:ext cx="141064" cy="15376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r>
              <a:rPr lang="en-US" sz="999" dirty="0">
                <a:latin typeface="+mn-lt"/>
              </a:rPr>
              <a:t>20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xmlns="" id="{AC4899E1-891E-D9BE-2253-D9AE70F5E95E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7684612" y="4810894"/>
            <a:ext cx="213200" cy="15376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r>
              <a:rPr lang="en-US" sz="999" dirty="0">
                <a:latin typeface="+mn-lt"/>
              </a:rPr>
              <a:t>Time</a:t>
            </a:r>
          </a:p>
        </p:txBody>
      </p:sp>
      <p:cxnSp>
        <p:nvCxnSpPr>
          <p:cNvPr id="23" name="Gerade Verbindung 82">
            <a:extLst>
              <a:ext uri="{FF2B5EF4-FFF2-40B4-BE49-F238E27FC236}">
                <a16:creationId xmlns:a16="http://schemas.microsoft.com/office/drawing/2014/main" xmlns="" id="{28696BC2-78FB-90EC-A85C-1084E61F290E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3301216" y="1413912"/>
            <a:ext cx="0" cy="335182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9999A9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feld 23">
            <a:extLst>
              <a:ext uri="{FF2B5EF4-FFF2-40B4-BE49-F238E27FC236}">
                <a16:creationId xmlns:a16="http://schemas.microsoft.com/office/drawing/2014/main" xmlns="" id="{1B672346-C5AF-10E7-DD92-2B775E07B654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770171" y="1413912"/>
            <a:ext cx="527388" cy="15376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l"/>
            <a:r>
              <a:rPr lang="en-US" sz="999" dirty="0">
                <a:latin typeface="+mn-lt"/>
              </a:rPr>
              <a:t>Price (%)</a:t>
            </a:r>
          </a:p>
        </p:txBody>
      </p:sp>
      <p:cxnSp>
        <p:nvCxnSpPr>
          <p:cNvPr id="25" name="Gerade Verbindung 86">
            <a:extLst>
              <a:ext uri="{FF2B5EF4-FFF2-40B4-BE49-F238E27FC236}">
                <a16:creationId xmlns:a16="http://schemas.microsoft.com/office/drawing/2014/main" xmlns="" id="{C3B65C9F-3828-1302-EC5F-DA9C6E3BF47D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369904" y="1484590"/>
            <a:ext cx="758157" cy="115454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87">
            <a:extLst>
              <a:ext uri="{FF2B5EF4-FFF2-40B4-BE49-F238E27FC236}">
                <a16:creationId xmlns:a16="http://schemas.microsoft.com/office/drawing/2014/main" xmlns="" id="{ACA2934A-0A23-825F-F6EE-D4EA22FE36B4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auto">
          <a:xfrm>
            <a:off x="650794" y="4763981"/>
            <a:ext cx="7374019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rgbClr val="CCCCD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hteck 26">
            <a:extLst>
              <a:ext uri="{FF2B5EF4-FFF2-40B4-BE49-F238E27FC236}">
                <a16:creationId xmlns:a16="http://schemas.microsoft.com/office/drawing/2014/main" xmlns="" id="{5FF1C5ED-82CF-1CDA-8628-1EEF7447DA4D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298796" y="1436602"/>
            <a:ext cx="2489250" cy="98004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950" b="1" dirty="0">
                <a:solidFill>
                  <a:srgbClr val="000000"/>
                </a:solidFill>
                <a:latin typeface="+mn-lt"/>
              </a:rPr>
              <a:t>Order and shipment until February 29, 2024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xmlns="" id="{3ADDE760-D196-7E86-0BD0-FF82C7264767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1082022" y="1639048"/>
            <a:ext cx="863646" cy="312668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spcBef>
                <a:spcPct val="0"/>
              </a:spcBef>
              <a:buFont typeface="Wingdings" charset="0"/>
              <a:buNone/>
            </a:pPr>
            <a:endParaRPr lang="en-US" sz="1799" b="1" dirty="0" err="1">
              <a:latin typeface="+mn-lt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xmlns="" id="{F07310BD-C080-4F2D-E145-20FDDD95E39D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542955" y="4688855"/>
            <a:ext cx="70532" cy="15376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r>
              <a:rPr lang="en-US" sz="999" dirty="0">
                <a:latin typeface="+mn-lt"/>
              </a:rPr>
              <a:t>0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xmlns="" id="{F9DCD8CB-8E3C-0A18-F716-5411078B1282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5211231" y="4945843"/>
            <a:ext cx="1245533" cy="17697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US" sz="1150" b="1" dirty="0">
                <a:latin typeface="+mn-lt"/>
              </a:rPr>
              <a:t>February 29, 2024</a:t>
            </a:r>
            <a:endParaRPr lang="en-US" sz="1150" b="1" dirty="0">
              <a:solidFill>
                <a:srgbClr val="EF0137"/>
              </a:solidFill>
              <a:latin typeface="+mn-lt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xmlns="" id="{14985DE2-F450-01EB-6F13-5F3A0318AE31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2498913" y="4857442"/>
            <a:ext cx="1604606" cy="35394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US" sz="1150" b="1" dirty="0">
                <a:latin typeface="+mn-lt"/>
              </a:rPr>
              <a:t>Planned DR 2023/11/23</a:t>
            </a:r>
            <a:br>
              <a:rPr lang="en-US" sz="1150" b="1" dirty="0">
                <a:latin typeface="+mn-lt"/>
              </a:rPr>
            </a:br>
            <a:r>
              <a:rPr lang="en-US" sz="1150" b="1" dirty="0">
                <a:latin typeface="+mn-lt"/>
              </a:rPr>
              <a:t>TIA Portal V19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xmlns="" id="{8A4E9A46-8E8C-D58D-4084-9401654B3F8C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781273" y="4849877"/>
            <a:ext cx="1465145" cy="36907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US" sz="1150" b="1" dirty="0">
                <a:latin typeface="+mn-lt"/>
              </a:rPr>
              <a:t>TIA Portal V18 </a:t>
            </a:r>
            <a:br>
              <a:rPr lang="en-US" sz="1150" b="1" dirty="0">
                <a:latin typeface="+mn-lt"/>
              </a:rPr>
            </a:br>
            <a:r>
              <a:rPr lang="en-US" sz="1150" dirty="0">
                <a:latin typeface="+mn-lt"/>
              </a:rPr>
              <a:t>(STEP 7, WinCC, …)</a:t>
            </a:r>
          </a:p>
        </p:txBody>
      </p:sp>
      <p:cxnSp>
        <p:nvCxnSpPr>
          <p:cNvPr id="33" name="Gerade Verbindung 95">
            <a:extLst>
              <a:ext uri="{FF2B5EF4-FFF2-40B4-BE49-F238E27FC236}">
                <a16:creationId xmlns:a16="http://schemas.microsoft.com/office/drawing/2014/main" xmlns="" id="{D19D708D-134F-92C8-EF85-E67881FCDECD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 bwMode="auto">
          <a:xfrm>
            <a:off x="5833997" y="1413827"/>
            <a:ext cx="0" cy="335182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9999A9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xmlns="" id="{70B93205-4E8E-6876-147E-B915C7921132}"/>
              </a:ext>
            </a:extLst>
          </p:cNvPr>
          <p:cNvSpPr>
            <a:spLocks/>
          </p:cNvSpPr>
          <p:nvPr/>
        </p:nvSpPr>
        <p:spPr>
          <a:xfrm>
            <a:off x="8411122" y="1519770"/>
            <a:ext cx="3376067" cy="11568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 anchorCtr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600" b="1" dirty="0">
                <a:solidFill>
                  <a:schemeClr val="bg1"/>
                </a:solidFill>
              </a:rPr>
              <a:t>The grace period </a:t>
            </a: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offer applies for:</a:t>
            </a:r>
          </a:p>
          <a:p>
            <a:pPr marL="179705" indent="-171450" algn="l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TIA Portal V18</a:t>
            </a:r>
            <a:endParaRPr lang="en-US" sz="1200" dirty="0">
              <a:solidFill>
                <a:schemeClr val="bg1"/>
              </a:solidFill>
              <a:cs typeface="Arial"/>
            </a:endParaRPr>
          </a:p>
          <a:p>
            <a:pPr marL="179705" indent="-171450" algn="l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Delivery type </a:t>
            </a:r>
            <a:r>
              <a:rPr lang="en-US" sz="1200" b="1" dirty="0">
                <a:solidFill>
                  <a:schemeClr val="bg1"/>
                </a:solidFill>
              </a:rPr>
              <a:t>Download</a:t>
            </a:r>
            <a:endParaRPr lang="en-US" sz="12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xmlns="" id="{3662B4EF-A601-A72D-4635-4E5203431E25}"/>
              </a:ext>
            </a:extLst>
          </p:cNvPr>
          <p:cNvSpPr>
            <a:spLocks/>
          </p:cNvSpPr>
          <p:nvPr/>
        </p:nvSpPr>
        <p:spPr>
          <a:xfrm>
            <a:off x="8411122" y="3053162"/>
            <a:ext cx="3376067" cy="46433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 anchorCtr="0">
            <a:noAutofit/>
          </a:bodyPr>
          <a:lstStyle/>
          <a:p>
            <a:pPr algn="l">
              <a:spcAft>
                <a:spcPts val="300"/>
              </a:spcAft>
            </a:pPr>
            <a:r>
              <a:rPr lang="en-US" sz="1600" b="1" dirty="0">
                <a:solidFill>
                  <a:schemeClr val="bg1"/>
                </a:solidFill>
              </a:rPr>
              <a:t>~40% of product price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xmlns="" id="{238FDD3E-5881-7BF2-1356-E3F079D87A00}"/>
              </a:ext>
            </a:extLst>
          </p:cNvPr>
          <p:cNvSpPr>
            <a:spLocks/>
          </p:cNvSpPr>
          <p:nvPr/>
        </p:nvSpPr>
        <p:spPr>
          <a:xfrm>
            <a:off x="8411122" y="3930318"/>
            <a:ext cx="3376067" cy="8336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 anchorCtr="0">
            <a:noAutofit/>
          </a:bodyPr>
          <a:lstStyle/>
          <a:p>
            <a:pPr algn="l">
              <a:spcAft>
                <a:spcPts val="300"/>
              </a:spcAft>
            </a:pPr>
            <a:r>
              <a:rPr lang="en-US" sz="1600" b="1" dirty="0">
                <a:solidFill>
                  <a:schemeClr val="bg1"/>
                </a:solidFill>
              </a:rPr>
              <a:t>~20% of product price</a:t>
            </a:r>
            <a:r>
              <a:rPr lang="en-US" sz="1600" dirty="0">
                <a:solidFill>
                  <a:schemeClr val="bg1"/>
                </a:solidFill>
              </a:rPr>
              <a:t/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At one version/year SUS saves up 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to 50% compared to an Upgrade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xmlns="" id="{C5B0E023-4413-D78A-5FE3-3BD26AF7DC57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6536964" y="4393301"/>
            <a:ext cx="623569" cy="184538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ctr"/>
            <a:r>
              <a:rPr lang="en-US" sz="1199" b="1" dirty="0">
                <a:solidFill>
                  <a:schemeClr val="bg1"/>
                </a:solidFill>
                <a:latin typeface="+mn-lt"/>
              </a:rPr>
              <a:t>Upgrade</a:t>
            </a:r>
          </a:p>
        </p:txBody>
      </p:sp>
      <p:sp>
        <p:nvSpPr>
          <p:cNvPr id="39" name="Foliennummernplatzhalter 38">
            <a:extLst>
              <a:ext uri="{FF2B5EF4-FFF2-40B4-BE49-F238E27FC236}">
                <a16:creationId xmlns:a16="http://schemas.microsoft.com/office/drawing/2014/main" xmlns="" id="{4F861A96-2C9B-54E8-C9F8-99FE780C3B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3808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xmlns="" id="{90C694DF-1504-86BF-FEAE-265088E927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544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xmlns="" id="{90C694DF-1504-86BF-FEAE-265088E927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9223BD8A-73D5-35AC-EB04-E3895EF14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A Portal V19 Grace Period Offer</a:t>
            </a:r>
            <a:br>
              <a:rPr lang="en-US" dirty="0"/>
            </a:br>
            <a:r>
              <a:rPr lang="en-US" b="0" dirty="0"/>
              <a:t>Exclusive SUS offer for TIA Portal products valid until February 29, 2024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0A4E0217-F507-D28E-16D5-C9DDE62E8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rtl="0"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xmlns="" id="{24F466E7-6247-2400-3BDD-59B2523B79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023139"/>
              </p:ext>
            </p:extLst>
          </p:nvPr>
        </p:nvGraphicFramePr>
        <p:xfrm>
          <a:off x="411162" y="1414504"/>
          <a:ext cx="5465764" cy="235488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9384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2733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79626"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TIA Portal Engineering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    TIA Portal Eng. Options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TEP 7 Professional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TEP 7 Safety Advanced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63315773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TEP 7 Professional COMBO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TEP 7 Safety Basic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67726617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TEP 7 Basic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TIA Portal Multiuser Engineering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7416222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WinCC Basic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7-PLCSIM Advanced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14258539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WinCC Comfort/Advanced/Professional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IMATIC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Energy Suite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WinCC Unified Comfort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TIA Portal Teamcenter Gateway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WinCC Unified PC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IMATIC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Visualization Architect</a:t>
                      </a:r>
                      <a:endParaRPr lang="en-US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INAMICS </a:t>
                      </a:r>
                      <a:r>
                        <a:rPr lang="en-US" sz="1200" b="0" kern="1200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tartdrive</a:t>
                      </a:r>
                      <a:r>
                        <a:rPr lang="en-US" sz="1200" b="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Advanced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INAMICS DCC Combo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xmlns="" id="{E095446E-426B-5699-DA32-BA8E6B55B1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7380716"/>
              </p:ext>
            </p:extLst>
          </p:nvPr>
        </p:nvGraphicFramePr>
        <p:xfrm>
          <a:off x="411162" y="3967948"/>
          <a:ext cx="5465764" cy="75360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9673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9845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79626"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TIA Portal Runtime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>
                        <a:spcAft>
                          <a:spcPts val="0"/>
                        </a:spcAft>
                      </a:pP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SIMATIC WinCC Unified PC Runtime</a:t>
                      </a: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SIMATIC WinCC RT Professional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SIMATIC WinCC Client for RT Prof.</a:t>
                      </a: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63315773"/>
                  </a:ext>
                </a:extLst>
              </a:tr>
            </a:tbl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xmlns="" id="{D1D7672D-B2D2-03C0-7D40-4D8AB3C25F4C}"/>
              </a:ext>
            </a:extLst>
          </p:cNvPr>
          <p:cNvSpPr>
            <a:spLocks/>
          </p:cNvSpPr>
          <p:nvPr/>
        </p:nvSpPr>
        <p:spPr>
          <a:xfrm>
            <a:off x="6315075" y="1414463"/>
            <a:ext cx="5876925" cy="43926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 anchorCtr="0">
            <a:noAutofit/>
          </a:bodyPr>
          <a:lstStyle/>
          <a:p>
            <a:pPr algn="l" rtl="0">
              <a:spcAft>
                <a:spcPts val="300"/>
              </a:spcAft>
            </a:pPr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xmlns="" id="{9352D32F-8F9C-DAC1-EA3F-6BB8CCB12C5B}"/>
              </a:ext>
            </a:extLst>
          </p:cNvPr>
          <p:cNvSpPr txBox="1">
            <a:spLocks/>
          </p:cNvSpPr>
          <p:nvPr/>
        </p:nvSpPr>
        <p:spPr>
          <a:xfrm>
            <a:off x="6554686" y="1577776"/>
            <a:ext cx="4899997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 rtl="0"/>
            <a:r>
              <a:rPr lang="en-US" sz="2000" b="1" dirty="0">
                <a:solidFill>
                  <a:schemeClr val="tx1"/>
                </a:solidFill>
              </a:rPr>
              <a:t>Delivery of the SUS download product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xmlns="" id="{9977F608-491F-BE54-B090-9AA25200F4D2}"/>
              </a:ext>
            </a:extLst>
          </p:cNvPr>
          <p:cNvSpPr>
            <a:spLocks/>
          </p:cNvSpPr>
          <p:nvPr/>
        </p:nvSpPr>
        <p:spPr>
          <a:xfrm>
            <a:off x="6554686" y="2868870"/>
            <a:ext cx="585976" cy="585976"/>
          </a:xfrm>
          <a:custGeom>
            <a:avLst/>
            <a:gdLst>
              <a:gd name="connsiteX0" fmla="*/ 0 w 486699"/>
              <a:gd name="connsiteY0" fmla="*/ 0 h 486699"/>
              <a:gd name="connsiteX1" fmla="*/ 0 w 486699"/>
              <a:gd name="connsiteY1" fmla="*/ 486700 h 486699"/>
              <a:gd name="connsiteX2" fmla="*/ 486700 w 486699"/>
              <a:gd name="connsiteY2" fmla="*/ 486700 h 486699"/>
              <a:gd name="connsiteX3" fmla="*/ 486700 w 486699"/>
              <a:gd name="connsiteY3" fmla="*/ 0 h 486699"/>
              <a:gd name="connsiteX4" fmla="*/ 0 w 486699"/>
              <a:gd name="connsiteY4" fmla="*/ 0 h 486699"/>
              <a:gd name="connsiteX5" fmla="*/ 191869 w 486699"/>
              <a:gd name="connsiteY5" fmla="*/ 372630 h 486699"/>
              <a:gd name="connsiteX6" fmla="*/ 71763 w 486699"/>
              <a:gd name="connsiteY6" fmla="*/ 252525 h 486699"/>
              <a:gd name="connsiteX7" fmla="*/ 107282 w 486699"/>
              <a:gd name="connsiteY7" fmla="*/ 217006 h 486699"/>
              <a:gd name="connsiteX8" fmla="*/ 184115 w 486699"/>
              <a:gd name="connsiteY8" fmla="*/ 283805 h 486699"/>
              <a:gd name="connsiteX9" fmla="*/ 379364 w 486699"/>
              <a:gd name="connsiteY9" fmla="*/ 114069 h 486699"/>
              <a:gd name="connsiteX10" fmla="*/ 414883 w 486699"/>
              <a:gd name="connsiteY10" fmla="*/ 149589 h 486699"/>
              <a:gd name="connsiteX11" fmla="*/ 191869 w 486699"/>
              <a:gd name="connsiteY11" fmla="*/ 372630 h 486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86699" h="486699">
                <a:moveTo>
                  <a:pt x="0" y="0"/>
                </a:moveTo>
                <a:lnTo>
                  <a:pt x="0" y="486700"/>
                </a:lnTo>
                <a:lnTo>
                  <a:pt x="486700" y="486700"/>
                </a:lnTo>
                <a:lnTo>
                  <a:pt x="486700" y="0"/>
                </a:lnTo>
                <a:lnTo>
                  <a:pt x="0" y="0"/>
                </a:lnTo>
                <a:close/>
                <a:moveTo>
                  <a:pt x="191869" y="372630"/>
                </a:moveTo>
                <a:lnTo>
                  <a:pt x="71763" y="252525"/>
                </a:lnTo>
                <a:lnTo>
                  <a:pt x="107282" y="217006"/>
                </a:lnTo>
                <a:lnTo>
                  <a:pt x="184115" y="283805"/>
                </a:lnTo>
                <a:lnTo>
                  <a:pt x="379364" y="114069"/>
                </a:lnTo>
                <a:lnTo>
                  <a:pt x="414883" y="149589"/>
                </a:lnTo>
                <a:lnTo>
                  <a:pt x="191869" y="372630"/>
                </a:lnTo>
                <a:close/>
              </a:path>
            </a:pathLst>
          </a:custGeom>
          <a:solidFill>
            <a:srgbClr val="0F8287"/>
          </a:solidFill>
          <a:ln w="2681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xmlns="" id="{ECD7F89A-125C-CC61-32DA-7104E1FC12FD}"/>
              </a:ext>
            </a:extLst>
          </p:cNvPr>
          <p:cNvSpPr txBox="1">
            <a:spLocks/>
          </p:cNvSpPr>
          <p:nvPr/>
        </p:nvSpPr>
        <p:spPr>
          <a:xfrm>
            <a:off x="6554685" y="2436770"/>
            <a:ext cx="5232502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 rtl="0"/>
            <a:r>
              <a:rPr lang="en-US" sz="1200" dirty="0">
                <a:solidFill>
                  <a:schemeClr val="tx1"/>
                </a:solidFill>
              </a:rPr>
              <a:t>… earliest (after verification)</a:t>
            </a:r>
            <a:endParaRPr lang="en-US" sz="16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xmlns="" id="{06C2BF1A-F569-AA4D-DD99-B0BC65426BF7}"/>
              </a:ext>
            </a:extLst>
          </p:cNvPr>
          <p:cNvSpPr txBox="1">
            <a:spLocks/>
          </p:cNvSpPr>
          <p:nvPr/>
        </p:nvSpPr>
        <p:spPr>
          <a:xfrm>
            <a:off x="7449928" y="2915637"/>
            <a:ext cx="3772502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 rtl="0"/>
            <a:r>
              <a:rPr lang="en-US" sz="1600" dirty="0"/>
              <a:t>A new </a:t>
            </a:r>
            <a:r>
              <a:rPr lang="en-US" sz="1600" b="1" dirty="0"/>
              <a:t>first delivery </a:t>
            </a:r>
            <a:r>
              <a:rPr lang="en-US" sz="1600" dirty="0"/>
              <a:t>of the Certificate </a:t>
            </a:r>
            <a:br>
              <a:rPr lang="en-US" sz="1600" dirty="0"/>
            </a:br>
            <a:r>
              <a:rPr lang="en-US" sz="1600" dirty="0"/>
              <a:t>of Contract (CoC) via email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xmlns="" id="{9259948A-9666-EF12-4A9D-EC03A8B381A5}"/>
              </a:ext>
            </a:extLst>
          </p:cNvPr>
          <p:cNvSpPr txBox="1">
            <a:spLocks/>
          </p:cNvSpPr>
          <p:nvPr/>
        </p:nvSpPr>
        <p:spPr>
          <a:xfrm>
            <a:off x="6554686" y="4120239"/>
            <a:ext cx="5232502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 rtl="0"/>
            <a:r>
              <a:rPr lang="en-US" sz="1200" dirty="0">
                <a:solidFill>
                  <a:schemeClr val="tx1"/>
                </a:solidFill>
              </a:rPr>
              <a:t>… and within 1 – 3 business days (after TIA Portal V19 delivery release)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xmlns="" id="{358FD3A8-C174-6D1F-E918-564E5A25E5D6}"/>
              </a:ext>
            </a:extLst>
          </p:cNvPr>
          <p:cNvSpPr txBox="1">
            <a:spLocks/>
          </p:cNvSpPr>
          <p:nvPr/>
        </p:nvSpPr>
        <p:spPr>
          <a:xfrm>
            <a:off x="7449928" y="4552339"/>
            <a:ext cx="3772502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 rtl="0"/>
            <a:r>
              <a:rPr lang="en-US" sz="1600" dirty="0"/>
              <a:t>The </a:t>
            </a:r>
            <a:r>
              <a:rPr lang="en-US" sz="1600" b="1" dirty="0"/>
              <a:t>SUS delivery</a:t>
            </a:r>
            <a:r>
              <a:rPr lang="en-US" sz="1600" dirty="0"/>
              <a:t> (download link) </a:t>
            </a:r>
            <a:br>
              <a:rPr lang="en-US" sz="1600" dirty="0"/>
            </a:br>
            <a:r>
              <a:rPr lang="en-US" sz="1600" dirty="0"/>
              <a:t>with TIA Portal V19 upgrade via email </a:t>
            </a: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xmlns="" id="{E74F7268-EA97-6580-6A3C-0C300D7C7534}"/>
              </a:ext>
            </a:extLst>
          </p:cNvPr>
          <p:cNvSpPr>
            <a:spLocks/>
          </p:cNvSpPr>
          <p:nvPr/>
        </p:nvSpPr>
        <p:spPr>
          <a:xfrm>
            <a:off x="6554686" y="4505572"/>
            <a:ext cx="585976" cy="585976"/>
          </a:xfrm>
          <a:custGeom>
            <a:avLst/>
            <a:gdLst>
              <a:gd name="connsiteX0" fmla="*/ 0 w 486699"/>
              <a:gd name="connsiteY0" fmla="*/ 0 h 486699"/>
              <a:gd name="connsiteX1" fmla="*/ 0 w 486699"/>
              <a:gd name="connsiteY1" fmla="*/ 486700 h 486699"/>
              <a:gd name="connsiteX2" fmla="*/ 486700 w 486699"/>
              <a:gd name="connsiteY2" fmla="*/ 486700 h 486699"/>
              <a:gd name="connsiteX3" fmla="*/ 486700 w 486699"/>
              <a:gd name="connsiteY3" fmla="*/ 0 h 486699"/>
              <a:gd name="connsiteX4" fmla="*/ 0 w 486699"/>
              <a:gd name="connsiteY4" fmla="*/ 0 h 486699"/>
              <a:gd name="connsiteX5" fmla="*/ 191869 w 486699"/>
              <a:gd name="connsiteY5" fmla="*/ 372630 h 486699"/>
              <a:gd name="connsiteX6" fmla="*/ 71763 w 486699"/>
              <a:gd name="connsiteY6" fmla="*/ 252525 h 486699"/>
              <a:gd name="connsiteX7" fmla="*/ 107282 w 486699"/>
              <a:gd name="connsiteY7" fmla="*/ 217006 h 486699"/>
              <a:gd name="connsiteX8" fmla="*/ 184115 w 486699"/>
              <a:gd name="connsiteY8" fmla="*/ 283805 h 486699"/>
              <a:gd name="connsiteX9" fmla="*/ 379364 w 486699"/>
              <a:gd name="connsiteY9" fmla="*/ 114069 h 486699"/>
              <a:gd name="connsiteX10" fmla="*/ 414883 w 486699"/>
              <a:gd name="connsiteY10" fmla="*/ 149589 h 486699"/>
              <a:gd name="connsiteX11" fmla="*/ 191869 w 486699"/>
              <a:gd name="connsiteY11" fmla="*/ 372630 h 486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86699" h="486699">
                <a:moveTo>
                  <a:pt x="0" y="0"/>
                </a:moveTo>
                <a:lnTo>
                  <a:pt x="0" y="486700"/>
                </a:lnTo>
                <a:lnTo>
                  <a:pt x="486700" y="486700"/>
                </a:lnTo>
                <a:lnTo>
                  <a:pt x="486700" y="0"/>
                </a:lnTo>
                <a:lnTo>
                  <a:pt x="0" y="0"/>
                </a:lnTo>
                <a:close/>
                <a:moveTo>
                  <a:pt x="191869" y="372630"/>
                </a:moveTo>
                <a:lnTo>
                  <a:pt x="71763" y="252525"/>
                </a:lnTo>
                <a:lnTo>
                  <a:pt x="107282" y="217006"/>
                </a:lnTo>
                <a:lnTo>
                  <a:pt x="184115" y="283805"/>
                </a:lnTo>
                <a:lnTo>
                  <a:pt x="379364" y="114069"/>
                </a:lnTo>
                <a:lnTo>
                  <a:pt x="414883" y="149589"/>
                </a:lnTo>
                <a:lnTo>
                  <a:pt x="191869" y="372630"/>
                </a:lnTo>
                <a:close/>
              </a:path>
            </a:pathLst>
          </a:custGeom>
          <a:solidFill>
            <a:srgbClr val="0F8287"/>
          </a:solidFill>
          <a:ln w="2681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xmlns="" id="{A6DB9369-B0B3-0AD7-860C-10887549E6A9}"/>
              </a:ext>
            </a:extLst>
          </p:cNvPr>
          <p:cNvSpPr>
            <a:spLocks/>
          </p:cNvSpPr>
          <p:nvPr/>
        </p:nvSpPr>
        <p:spPr>
          <a:xfrm>
            <a:off x="411163" y="4973411"/>
            <a:ext cx="5465763" cy="8336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08000" rtlCol="0" anchor="ctr" anchorCtr="0">
            <a:noAutofit/>
          </a:bodyPr>
          <a:lstStyle/>
          <a:p>
            <a:pPr algn="l" rtl="0">
              <a:spcAft>
                <a:spcPts val="300"/>
              </a:spcAft>
            </a:pPr>
            <a:r>
              <a:rPr lang="en-US" sz="1600" b="1" dirty="0">
                <a:solidFill>
                  <a:schemeClr val="accent1"/>
                </a:solidFill>
              </a:rPr>
              <a:t>Precondition</a:t>
            </a:r>
            <a:r>
              <a:rPr lang="en-US" sz="1600" dirty="0">
                <a:solidFill>
                  <a:schemeClr val="accent1"/>
                </a:solidFill>
              </a:rPr>
              <a:t/>
            </a:r>
            <a:br>
              <a:rPr lang="en-US" sz="1600" dirty="0">
                <a:solidFill>
                  <a:schemeClr val="accent1"/>
                </a:solidFill>
              </a:rPr>
            </a:br>
            <a:r>
              <a:rPr lang="en-US" sz="1200" dirty="0">
                <a:solidFill>
                  <a:schemeClr val="accent1"/>
                </a:solidFill>
              </a:rPr>
              <a:t>A valid license for version V18 of the SUS capable TIA Portal base product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xmlns="" id="{DCB8EF22-441A-5451-C098-3232CB04E2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36353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xmlns="" id="{7433CC84-4D44-F5E2-FADD-95BFB3C64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xmlns="" id="{7433CC84-4D44-F5E2-FADD-95BFB3C64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853219C9-FF2D-CE86-EE7C-2B68E4A9C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A Portal V19 Grace Period Offer</a:t>
            </a:r>
            <a:br>
              <a:rPr lang="en-US" dirty="0"/>
            </a:br>
            <a:r>
              <a:rPr lang="en-US" b="0" dirty="0"/>
              <a:t>Order Numbers of orderable SUS Download Product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C50F5AEF-9E4A-232D-230D-DE9100CC62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rtl="0"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xmlns="" id="{ACEDBDB0-C7CB-3CEA-23CC-6B7600937E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8444583"/>
              </p:ext>
            </p:extLst>
          </p:nvPr>
        </p:nvGraphicFramePr>
        <p:xfrm>
          <a:off x="411162" y="1414504"/>
          <a:ext cx="5465764" cy="3625944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393459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3116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79626"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Description</a:t>
                      </a:r>
                      <a:endParaRPr lang="en-US" sz="1400" dirty="0">
                        <a:solidFill>
                          <a:schemeClr val="accent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Item number</a:t>
                      </a:r>
                      <a:endParaRPr lang="en-US" sz="1400" dirty="0">
                        <a:solidFill>
                          <a:schemeClr val="accent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STEP 7 Basic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ES7822-0AE00-0Y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63315773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de-DE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STEP 7 Prof. TIA Portal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de-D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ES7822-1AE00-0Y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13748708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STEP 7 Prof. Combo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ES7810-5CC04-0YY2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67726617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STEP 7 Professional Combo SUS (UCL)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ES7810-5AE00-2YL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7416222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800" marB="108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0800" marB="108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45422286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Energy Suite Engineering SUS</a:t>
                      </a:r>
                    </a:p>
                  </a:txBody>
                  <a:tcPr marL="0" marR="0" marT="10800" marB="108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08-0AA00-0AY0</a:t>
                      </a:r>
                    </a:p>
                  </a:txBody>
                  <a:tcPr marL="0" marR="0" marT="10800" marB="108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14258539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S7-PLCSIM Advanced SUS 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ES7823-1FE00-0YL5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STEP 7 Safety Basic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ES7833-1FD00-0YN2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STEP 7 Safety Advanced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ES7833-1FC00-0Y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STEP 7 Safety Advanced SUS (UCL)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ES7833-1FC00-2YN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A Portal Teamcenter Gateway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ES7823-1EE00-0YL5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A Portal Test Suite Advanced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ES7823-1TE00-0AL5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A Portal Multiuser Engineering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ES7823-1AE00-0YL5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17013811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A Portal Multiuser Engineering SUS (UCL)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ES7823-1AE04-2YL6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24432334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800" marB="108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0800" marB="108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NAMICS DCC Combo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SL3070-4AA01-0XY8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53888474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NAMICS DCC Combo SUS (UCL)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SL3070-4AA01-0UY8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98741412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NAMICS </a:t>
                      </a:r>
                      <a:r>
                        <a:rPr lang="en-US" sz="11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tartdrive</a:t>
                      </a:r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dvanced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SL3072-4AA02-0XY8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14981231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NAMICS Startdrive Advanced SUS (UCL)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SL3072-4AA02-0UY8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51918596"/>
                  </a:ext>
                </a:extLst>
              </a:tr>
            </a:tbl>
          </a:graphicData>
        </a:graphic>
      </p:graphicFrame>
      <p:graphicFrame>
        <p:nvGraphicFramePr>
          <p:cNvPr id="21" name="Tabelle 20">
            <a:extLst>
              <a:ext uri="{FF2B5EF4-FFF2-40B4-BE49-F238E27FC236}">
                <a16:creationId xmlns:a16="http://schemas.microsoft.com/office/drawing/2014/main" xmlns="" id="{A2B416DA-375B-7303-2DEC-03A771471A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4888133"/>
              </p:ext>
            </p:extLst>
          </p:nvPr>
        </p:nvGraphicFramePr>
        <p:xfrm>
          <a:off x="6096000" y="1414463"/>
          <a:ext cx="5465764" cy="431916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395297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27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79626"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Description</a:t>
                      </a:r>
                      <a:endParaRPr lang="en-US" sz="1400" dirty="0">
                        <a:solidFill>
                          <a:schemeClr val="accent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6000" marB="3600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Item number</a:t>
                      </a:r>
                      <a:endParaRPr lang="en-US" sz="1400" dirty="0">
                        <a:solidFill>
                          <a:schemeClr val="accent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36000" marB="36000"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Unified Comfort ES SUS</a:t>
                      </a:r>
                      <a:endParaRPr lang="en-US" sz="11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51-0XB00-0LY5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63315773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Unified PC ES 10k SUS</a:t>
                      </a:r>
                      <a:endParaRPr lang="en-US" sz="11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53-2FB00-0LY5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67726617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Unified PC ES 100k SUS</a:t>
                      </a:r>
                      <a:endParaRPr lang="en-US" sz="11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53-2GB00-0LY5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7416222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Unified PC ES max. SUS</a:t>
                      </a:r>
                      <a:endParaRPr lang="en-US" sz="11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53-0XB00-0LY5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14258539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</a:t>
                      </a:r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nified PC RT small SUS (up to 10k)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54-2FB00-0L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</a:t>
                      </a:r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nified PC RT medium SUS (up to 100k)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54-2GB00-0L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</a:t>
                      </a:r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nified PC RT max.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54-0XB00-0L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endParaRPr lang="en-US" sz="11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Comfort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6612-0AA00-0A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Comfort SUS (UCL)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6612-0AA00-0U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Advanced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6613-0AA00-0A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Advanced SUS (UCL)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6613-0AA00-0U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endParaRPr lang="en-US" sz="11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800" marB="108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spcAft>
                          <a:spcPts val="0"/>
                        </a:spcAft>
                      </a:pP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0800" marB="108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Visualization Architect SUS</a:t>
                      </a:r>
                    </a:p>
                  </a:txBody>
                  <a:tcPr marL="0" marR="0" marT="10800" marB="108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07-0PX00-0AY0</a:t>
                      </a:r>
                    </a:p>
                  </a:txBody>
                  <a:tcPr marL="0" marR="0" marT="10800" marB="108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50484235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endParaRPr lang="en-US" sz="11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0800" marB="10800" anchor="ctr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spcAft>
                          <a:spcPts val="0"/>
                        </a:spcAft>
                      </a:pP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0800" marB="10800" anchor="ctr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86966729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Professional 512 </a:t>
                      </a:r>
                      <a:r>
                        <a:rPr lang="en-US" sz="11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owerTags</a:t>
                      </a:r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03-0DA00-0A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Professional 512 </a:t>
                      </a:r>
                      <a:r>
                        <a:rPr lang="en-US" sz="11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owerTags</a:t>
                      </a:r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US (UCL)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03-0DA00-0U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Professional 4096 </a:t>
                      </a:r>
                      <a:r>
                        <a:rPr lang="en-US" sz="11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owerTags</a:t>
                      </a:r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03-0HA00-0A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Professional 4096 </a:t>
                      </a:r>
                      <a:r>
                        <a:rPr lang="en-US" sz="11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owerTags</a:t>
                      </a:r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US (UCL)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03-0HA00-0U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Professional max. </a:t>
                      </a:r>
                      <a:r>
                        <a:rPr lang="en-US" sz="11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owerTags</a:t>
                      </a:r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03-0XA00-0A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Professional max. </a:t>
                      </a:r>
                      <a:r>
                        <a:rPr lang="en-US" sz="11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owerTags</a:t>
                      </a:r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US (UCL)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03-0XA00-0U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RT Professional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05-0XA00-0A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112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MATIC WinCC Client for RT Professional SUS</a:t>
                      </a:r>
                    </a:p>
                  </a:txBody>
                  <a:tcPr marL="5664" marR="5664" marT="5664" marB="0" anchor="b">
                    <a:lnL w="12700" cmpd="sng"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AV2107-0DB00-0AY0</a:t>
                      </a:r>
                    </a:p>
                  </a:txBody>
                  <a:tcPr marL="5664" marR="5664" marT="5664" marB="0" anchor="b">
                    <a:lnL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</a:tbl>
          </a:graphicData>
        </a:graphic>
      </p:graphicFrame>
      <p:sp>
        <p:nvSpPr>
          <p:cNvPr id="24" name="Textfeld 23">
            <a:extLst>
              <a:ext uri="{FF2B5EF4-FFF2-40B4-BE49-F238E27FC236}">
                <a16:creationId xmlns:a16="http://schemas.microsoft.com/office/drawing/2014/main" xmlns="" id="{4CCA697D-B235-443B-0229-C0BC1BF05CA5}"/>
              </a:ext>
            </a:extLst>
          </p:cNvPr>
          <p:cNvSpPr txBox="1"/>
          <p:nvPr/>
        </p:nvSpPr>
        <p:spPr>
          <a:xfrm>
            <a:off x="324516" y="5807075"/>
            <a:ext cx="609706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accent1"/>
                </a:solidFill>
              </a:rPr>
              <a:t>Offer only available as SUS </a:t>
            </a:r>
            <a:r>
              <a:rPr lang="en-US" sz="1800">
                <a:solidFill>
                  <a:schemeClr val="accent1"/>
                </a:solidFill>
              </a:rPr>
              <a:t>download 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BAB865AF-4FB0-E2B3-2BFA-481EFC5380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92981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xmlns="" id="{7433CC84-4D44-F5E2-FADD-95BFB3C64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xmlns="" id="{7433CC84-4D44-F5E2-FADD-95BFB3C64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853219C9-FF2D-CE86-EE7C-2B68E4A9C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A Portal V19 Grace Period Offer</a:t>
            </a:r>
            <a:br>
              <a:rPr lang="en-US" dirty="0"/>
            </a:br>
            <a:r>
              <a:rPr lang="en-US" b="0" dirty="0"/>
              <a:t>FAQ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C50F5AEF-9E4A-232D-230D-DE9100CC62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rtl="0">
              <a:lnSpc>
                <a:spcPct val="100000"/>
              </a:lnSpc>
            </a:pPr>
            <a:r>
              <a:rPr lang="en-US"/>
              <a:t>Unrestricted | © Siemens Aktiengesellschaft 2023 | November 2023</a:t>
            </a:r>
            <a:endParaRPr lang="en-US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xmlns="" id="{68777197-BF5F-3DC4-BC53-FA4B5EACCF0E}"/>
              </a:ext>
            </a:extLst>
          </p:cNvPr>
          <p:cNvGrpSpPr>
            <a:grpSpLocks/>
          </p:cNvGrpSpPr>
          <p:nvPr/>
        </p:nvGrpSpPr>
        <p:grpSpPr>
          <a:xfrm>
            <a:off x="461555" y="1406768"/>
            <a:ext cx="5472113" cy="638464"/>
            <a:chOff x="6315075" y="1514401"/>
            <a:chExt cx="5472113" cy="638464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xmlns="" id="{EA945AB4-9EED-A539-54E0-5217A6BD7938}"/>
                </a:ext>
              </a:extLst>
            </p:cNvPr>
            <p:cNvSpPr>
              <a:spLocks/>
            </p:cNvSpPr>
            <p:nvPr/>
          </p:nvSpPr>
          <p:spPr>
            <a:xfrm>
              <a:off x="6315075" y="1688534"/>
              <a:ext cx="5472113" cy="46433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>
              <a:noAutofit/>
            </a:bodyPr>
            <a:lstStyle/>
            <a:p>
              <a:pPr algn="l" rtl="0"/>
              <a:r>
                <a:rPr lang="en-US" sz="1050" dirty="0">
                  <a:solidFill>
                    <a:schemeClr val="accent1"/>
                  </a:solidFill>
                </a:rPr>
                <a:t>The SUS download product related to the licensed TIA Portal base product. </a:t>
              </a:r>
              <a:br>
                <a:rPr lang="en-US" sz="1050" dirty="0">
                  <a:solidFill>
                    <a:schemeClr val="accent1"/>
                  </a:solidFill>
                </a:rPr>
              </a:br>
              <a:r>
                <a:rPr lang="en-US" sz="1050" dirty="0">
                  <a:solidFill>
                    <a:schemeClr val="accent1"/>
                  </a:solidFill>
                </a:rPr>
                <a:t>Thus, the email address of the recipient is required!</a:t>
              </a:r>
            </a:p>
          </p:txBody>
        </p:sp>
        <p:sp>
          <p:nvSpPr>
            <p:cNvPr id="8" name="Inhaltsplatzhalter 6">
              <a:extLst>
                <a:ext uri="{FF2B5EF4-FFF2-40B4-BE49-F238E27FC236}">
                  <a16:creationId xmlns:a16="http://schemas.microsoft.com/office/drawing/2014/main" xmlns="" id="{EF8E2C0B-B1BE-68DC-542A-5491D9FA7910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6315075" y="1514401"/>
              <a:ext cx="5472113" cy="161583"/>
            </a:xfrm>
            <a:prstGeom prst="rect">
              <a:avLst/>
            </a:prstGeom>
          </p:spPr>
          <p:txBody>
            <a:bodyPr lIns="0" tIns="0" rIns="0" bIns="0" anchor="b">
              <a:sp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None/>
              </a:pPr>
              <a:r>
                <a:rPr lang="en-US" sz="1050" b="1" dirty="0"/>
                <a:t>What does the grace period offer? What needs to be ordered?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xmlns="" id="{9576FC47-F04B-030C-6913-885B36053326}"/>
              </a:ext>
            </a:extLst>
          </p:cNvPr>
          <p:cNvGrpSpPr>
            <a:grpSpLocks/>
          </p:cNvGrpSpPr>
          <p:nvPr/>
        </p:nvGrpSpPr>
        <p:grpSpPr>
          <a:xfrm>
            <a:off x="461555" y="2243016"/>
            <a:ext cx="5472113" cy="638532"/>
            <a:chOff x="6315075" y="2376642"/>
            <a:chExt cx="5472113" cy="638532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xmlns="" id="{7673B914-0CDC-B16C-13BB-1C0F4D40EA20}"/>
                </a:ext>
              </a:extLst>
            </p:cNvPr>
            <p:cNvSpPr>
              <a:spLocks/>
            </p:cNvSpPr>
            <p:nvPr/>
          </p:nvSpPr>
          <p:spPr>
            <a:xfrm>
              <a:off x="6315075" y="2550774"/>
              <a:ext cx="5472113" cy="4644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>
              <a:noAutofit/>
            </a:bodyPr>
            <a:lstStyle/>
            <a:p>
              <a:pPr algn="l" rtl="0"/>
              <a:r>
                <a:rPr lang="en-US" sz="1050" dirty="0">
                  <a:solidFill>
                    <a:schemeClr val="accent1"/>
                  </a:solidFill>
                </a:rPr>
                <a:t>Like every other product via standard channels, e.g., Siemens contact, online mall, distributor.</a:t>
              </a:r>
            </a:p>
          </p:txBody>
        </p:sp>
        <p:sp>
          <p:nvSpPr>
            <p:cNvPr id="11" name="Inhaltsplatzhalter 6">
              <a:extLst>
                <a:ext uri="{FF2B5EF4-FFF2-40B4-BE49-F238E27FC236}">
                  <a16:creationId xmlns:a16="http://schemas.microsoft.com/office/drawing/2014/main" xmlns="" id="{1C918B63-01E7-2747-ADB1-90F126416704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6315075" y="2376642"/>
              <a:ext cx="5472113" cy="161583"/>
            </a:xfrm>
            <a:prstGeom prst="rect">
              <a:avLst/>
            </a:prstGeom>
          </p:spPr>
          <p:txBody>
            <a:bodyPr lIns="0" tIns="0" rIns="0" bIns="0" anchor="b">
              <a:sp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None/>
              </a:pPr>
              <a:r>
                <a:rPr lang="en-US" sz="1050" b="1" dirty="0"/>
                <a:t>How is the order placed?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xmlns="" id="{CE61B10E-C9FD-C7DB-8312-E7E3F2E8EA6C}"/>
              </a:ext>
            </a:extLst>
          </p:cNvPr>
          <p:cNvGrpSpPr>
            <a:grpSpLocks/>
          </p:cNvGrpSpPr>
          <p:nvPr/>
        </p:nvGrpSpPr>
        <p:grpSpPr>
          <a:xfrm>
            <a:off x="6217105" y="1406649"/>
            <a:ext cx="5472113" cy="481122"/>
            <a:chOff x="6315075" y="3073848"/>
            <a:chExt cx="5472113" cy="481122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xmlns="" id="{B53AEB6F-6B96-4E20-9792-5D3AF4FBCB9A}"/>
                </a:ext>
              </a:extLst>
            </p:cNvPr>
            <p:cNvSpPr>
              <a:spLocks/>
            </p:cNvSpPr>
            <p:nvPr/>
          </p:nvSpPr>
          <p:spPr>
            <a:xfrm>
              <a:off x="6315075" y="3247981"/>
              <a:ext cx="5472113" cy="30698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>
              <a:spAutoFit/>
            </a:bodyPr>
            <a:lstStyle/>
            <a:p>
              <a:pPr algn="l" rtl="0"/>
              <a:r>
                <a:rPr lang="en-US" sz="1050" dirty="0">
                  <a:solidFill>
                    <a:schemeClr val="accent1"/>
                  </a:solidFill>
                </a:rPr>
                <a:t>The grace period offer (only SUS as download) costs ~20% versus new.</a:t>
              </a:r>
            </a:p>
          </p:txBody>
        </p:sp>
        <p:sp>
          <p:nvSpPr>
            <p:cNvPr id="14" name="Inhaltsplatzhalter 6">
              <a:extLst>
                <a:ext uri="{FF2B5EF4-FFF2-40B4-BE49-F238E27FC236}">
                  <a16:creationId xmlns:a16="http://schemas.microsoft.com/office/drawing/2014/main" xmlns="" id="{4D3F6D05-5E39-7FC2-C27D-446EB5353548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6315075" y="3073848"/>
              <a:ext cx="5472113" cy="161583"/>
            </a:xfrm>
            <a:prstGeom prst="rect">
              <a:avLst/>
            </a:prstGeom>
          </p:spPr>
          <p:txBody>
            <a:bodyPr lIns="0" tIns="0" rIns="0" bIns="0" anchor="b">
              <a:sp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None/>
              </a:pPr>
              <a:r>
                <a:rPr lang="en-US" sz="1050" b="1" dirty="0"/>
                <a:t>What’s the price for the grace period offer?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xmlns="" id="{1602C8E3-7D65-87DF-8C59-EEB8B7B633A2}"/>
              </a:ext>
            </a:extLst>
          </p:cNvPr>
          <p:cNvGrpSpPr>
            <a:grpSpLocks/>
          </p:cNvGrpSpPr>
          <p:nvPr/>
        </p:nvGrpSpPr>
        <p:grpSpPr>
          <a:xfrm>
            <a:off x="6221087" y="2254030"/>
            <a:ext cx="5472113" cy="627316"/>
            <a:chOff x="6315075" y="3771053"/>
            <a:chExt cx="5472113" cy="627316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xmlns="" id="{8EA0F457-A057-CB51-A7CC-5E77EFB202A2}"/>
                </a:ext>
              </a:extLst>
            </p:cNvPr>
            <p:cNvSpPr>
              <a:spLocks/>
            </p:cNvSpPr>
            <p:nvPr/>
          </p:nvSpPr>
          <p:spPr>
            <a:xfrm>
              <a:off x="6315075" y="3945186"/>
              <a:ext cx="5472113" cy="45318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>
              <a:noAutofit/>
            </a:bodyPr>
            <a:lstStyle/>
            <a:p>
              <a:pPr algn="l" rtl="0"/>
              <a:r>
                <a:rPr lang="en-US" sz="1050" dirty="0">
                  <a:solidFill>
                    <a:schemeClr val="accent1"/>
                  </a:solidFill>
                </a:rPr>
                <a:t>Without grace period offer an upgrade is required which costs ~40% versus new. </a:t>
              </a:r>
              <a:br>
                <a:rPr lang="en-US" sz="1050" dirty="0">
                  <a:solidFill>
                    <a:schemeClr val="accent1"/>
                  </a:solidFill>
                </a:rPr>
              </a:br>
              <a:r>
                <a:rPr lang="en-US" sz="1050" dirty="0">
                  <a:solidFill>
                    <a:schemeClr val="accent1"/>
                  </a:solidFill>
                </a:rPr>
                <a:t>With an additional SUS this totals to ~60% versus new. </a:t>
              </a:r>
            </a:p>
          </p:txBody>
        </p:sp>
        <p:sp>
          <p:nvSpPr>
            <p:cNvPr id="17" name="Inhaltsplatzhalter 6">
              <a:extLst>
                <a:ext uri="{FF2B5EF4-FFF2-40B4-BE49-F238E27FC236}">
                  <a16:creationId xmlns:a16="http://schemas.microsoft.com/office/drawing/2014/main" xmlns="" id="{088E469A-1FD8-E6DB-4942-873AA15F8198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6315075" y="3771053"/>
              <a:ext cx="5472113" cy="161583"/>
            </a:xfrm>
            <a:prstGeom prst="rect">
              <a:avLst/>
            </a:prstGeom>
          </p:spPr>
          <p:txBody>
            <a:bodyPr lIns="0" tIns="0" rIns="0" bIns="0" anchor="b">
              <a:sp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None/>
              </a:pPr>
              <a:r>
                <a:rPr lang="en-US" sz="1050" b="1" dirty="0"/>
                <a:t>After the grace period, what‘s the price for staying current?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xmlns="" id="{BE0FEDDA-A4FE-9770-2558-48B544043C13}"/>
              </a:ext>
            </a:extLst>
          </p:cNvPr>
          <p:cNvGrpSpPr/>
          <p:nvPr/>
        </p:nvGrpSpPr>
        <p:grpSpPr>
          <a:xfrm>
            <a:off x="461555" y="3801547"/>
            <a:ext cx="5472113" cy="1550646"/>
            <a:chOff x="6315075" y="4622146"/>
            <a:chExt cx="5472113" cy="1550646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xmlns="" id="{9EE31182-F7E7-CAFE-BA11-96C50370303A}"/>
                </a:ext>
              </a:extLst>
            </p:cNvPr>
            <p:cNvSpPr>
              <a:spLocks/>
            </p:cNvSpPr>
            <p:nvPr/>
          </p:nvSpPr>
          <p:spPr>
            <a:xfrm>
              <a:off x="6315075" y="4796279"/>
              <a:ext cx="5472113" cy="137651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>
              <a:noAutofit/>
            </a:bodyPr>
            <a:lstStyle/>
            <a:p>
              <a:pPr algn="l" rtl="0"/>
              <a:r>
                <a:rPr lang="en-US" sz="1050" dirty="0">
                  <a:solidFill>
                    <a:schemeClr val="accent1"/>
                  </a:solidFill>
                </a:rPr>
                <a:t>The delivery of the SUS download product is executed in multiple steps:</a:t>
              </a:r>
            </a:p>
            <a:p>
              <a:pPr marL="180000" indent="-180000" algn="l" rtl="0">
                <a:buFont typeface="+mj-lt"/>
                <a:buAutoNum type="arabicPeriod"/>
              </a:pPr>
              <a:r>
                <a:rPr lang="en-US" sz="1050" dirty="0">
                  <a:solidFill>
                    <a:schemeClr val="accent1"/>
                  </a:solidFill>
                </a:rPr>
                <a:t>After Siemens’ legal check one email with the new first delivery </a:t>
              </a:r>
              <a:br>
                <a:rPr lang="en-US" sz="1050" dirty="0">
                  <a:solidFill>
                    <a:schemeClr val="accent1"/>
                  </a:solidFill>
                </a:rPr>
              </a:br>
              <a:r>
                <a:rPr lang="en-US" sz="1050" dirty="0">
                  <a:solidFill>
                    <a:schemeClr val="accent1"/>
                  </a:solidFill>
                </a:rPr>
                <a:t>with the contract called CoC (Certificate of Contract) is received.</a:t>
              </a:r>
            </a:p>
            <a:p>
              <a:pPr marL="180000" indent="-180000" algn="l" rtl="0">
                <a:buFont typeface="+mj-lt"/>
                <a:buAutoNum type="arabicPeriod"/>
              </a:pPr>
              <a:r>
                <a:rPr lang="en-US" sz="1050" dirty="0">
                  <a:solidFill>
                    <a:schemeClr val="accent1"/>
                  </a:solidFill>
                </a:rPr>
                <a:t>Within 1 – 3 business days follows an email with the real SUS delivery </a:t>
              </a:r>
              <a:br>
                <a:rPr lang="en-US" sz="1050" dirty="0">
                  <a:solidFill>
                    <a:schemeClr val="accent1"/>
                  </a:solidFill>
                </a:rPr>
              </a:br>
              <a:r>
                <a:rPr lang="en-US" sz="1050" dirty="0">
                  <a:solidFill>
                    <a:schemeClr val="accent1"/>
                  </a:solidFill>
                </a:rPr>
                <a:t>with the download link for the upgrade. This is only possible after delivery release. </a:t>
              </a:r>
            </a:p>
            <a:p>
              <a:pPr marL="180000" indent="-180000" algn="l" rtl="0">
                <a:buFont typeface="+mj-lt"/>
                <a:buAutoNum type="arabicPeriod"/>
              </a:pPr>
              <a:r>
                <a:rPr lang="en-US" sz="1050" dirty="0">
                  <a:solidFill>
                    <a:schemeClr val="accent1"/>
                  </a:solidFill>
                </a:rPr>
                <a:t>While the SUS contract is active successor releases lead to further </a:t>
              </a:r>
              <a:br>
                <a:rPr lang="en-US" sz="1050" dirty="0">
                  <a:solidFill>
                    <a:schemeClr val="accent1"/>
                  </a:solidFill>
                </a:rPr>
              </a:br>
              <a:r>
                <a:rPr lang="en-US" sz="1050" dirty="0">
                  <a:solidFill>
                    <a:schemeClr val="accent1"/>
                  </a:solidFill>
                </a:rPr>
                <a:t>SUS deliveries via email.</a:t>
              </a:r>
            </a:p>
          </p:txBody>
        </p:sp>
        <p:sp>
          <p:nvSpPr>
            <p:cNvPr id="20" name="Inhaltsplatzhalter 6">
              <a:extLst>
                <a:ext uri="{FF2B5EF4-FFF2-40B4-BE49-F238E27FC236}">
                  <a16:creationId xmlns:a16="http://schemas.microsoft.com/office/drawing/2014/main" xmlns="" id="{0EC91E45-240C-F3F5-6109-8D04BDB6BF63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6315075" y="4622146"/>
              <a:ext cx="5472113" cy="161583"/>
            </a:xfrm>
            <a:prstGeom prst="rect">
              <a:avLst/>
            </a:prstGeom>
          </p:spPr>
          <p:txBody>
            <a:bodyPr lIns="0" tIns="0" rIns="0" bIns="0" anchor="b">
              <a:sp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None/>
              </a:pPr>
              <a:r>
                <a:rPr lang="en-US" sz="1050" b="1" dirty="0"/>
                <a:t>After the order. What’s going to be delivered?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xmlns="" id="{CEA4F861-0CFE-C8EB-4C83-F984586968A3}"/>
              </a:ext>
            </a:extLst>
          </p:cNvPr>
          <p:cNvGrpSpPr>
            <a:grpSpLocks/>
          </p:cNvGrpSpPr>
          <p:nvPr/>
        </p:nvGrpSpPr>
        <p:grpSpPr>
          <a:xfrm>
            <a:off x="461555" y="2967845"/>
            <a:ext cx="5472113" cy="638532"/>
            <a:chOff x="6315075" y="2376642"/>
            <a:chExt cx="5472113" cy="638532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xmlns="" id="{68E6C2A8-D669-53A9-B303-8E67812E8B40}"/>
                </a:ext>
              </a:extLst>
            </p:cNvPr>
            <p:cNvSpPr>
              <a:spLocks/>
            </p:cNvSpPr>
            <p:nvPr/>
          </p:nvSpPr>
          <p:spPr>
            <a:xfrm>
              <a:off x="6315075" y="2550774"/>
              <a:ext cx="5472113" cy="4644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>
              <a:noAutofit/>
            </a:bodyPr>
            <a:lstStyle/>
            <a:p>
              <a:pPr algn="l" rtl="0"/>
              <a:r>
                <a:rPr lang="en-US" sz="1050" dirty="0">
                  <a:solidFill>
                    <a:schemeClr val="accent1"/>
                  </a:solidFill>
                </a:rPr>
                <a:t>No. Order and shipment must take place within grace period.</a:t>
              </a:r>
              <a:endParaRPr lang="en-US" sz="1050" dirty="0">
                <a:solidFill>
                  <a:schemeClr val="accent1"/>
                </a:solidFill>
                <a:cs typeface="Arial"/>
              </a:endParaRPr>
            </a:p>
          </p:txBody>
        </p:sp>
        <p:sp>
          <p:nvSpPr>
            <p:cNvPr id="23" name="Inhaltsplatzhalter 6">
              <a:extLst>
                <a:ext uri="{FF2B5EF4-FFF2-40B4-BE49-F238E27FC236}">
                  <a16:creationId xmlns:a16="http://schemas.microsoft.com/office/drawing/2014/main" xmlns="" id="{B62C2846-726F-47B5-1050-90BBFF1EF232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6315075" y="2376642"/>
              <a:ext cx="5472113" cy="161583"/>
            </a:xfrm>
            <a:prstGeom prst="rect">
              <a:avLst/>
            </a:prstGeom>
          </p:spPr>
          <p:txBody>
            <a:bodyPr lIns="0" tIns="0" rIns="0" bIns="0" anchor="b">
              <a:spAutoFit/>
            </a:bodyPr>
            <a:lstStyle>
              <a:lvl1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0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buNone/>
              </a:pPr>
              <a:r>
                <a:rPr lang="en-US" sz="1050" b="1" dirty="0"/>
                <a:t>Is it possible to postpone shipping into the future?</a:t>
              </a:r>
            </a:p>
          </p:txBody>
        </p:sp>
      </p:grpSp>
      <p:sp>
        <p:nvSpPr>
          <p:cNvPr id="24" name="Foliennummernplatzhalter 23">
            <a:extLst>
              <a:ext uri="{FF2B5EF4-FFF2-40B4-BE49-F238E27FC236}">
                <a16:creationId xmlns:a16="http://schemas.microsoft.com/office/drawing/2014/main" xmlns="" id="{CD45098D-D68B-4CBF-9743-AF9172B56C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373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9bxCKNM7lFKisTOV9iQxyAFAAAAAAADAAAAAAADAAAAAwADAAAAAAD///////8DAAEA////////BAAAAAMAEAALWYUu6Lc3hUWQUuimYOWoo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NbxCKNM7lFKisTOV9iQxyADRGF0YQAbAAAABExpbmtlZFNoYXBlRGF0YQAFAAAAAAACTmFtZQAZAAAATGlua2VkU2hhcGVzRGF0YVByb3BlcnR5ABBWZXJzaW9uAAAAAAAJTGFzdFdyaXRlACF2F2aEAQAAAAEA/////8YAxgAAAAVfaWQAEAAAAARZhS7otzeFRZBS6KZg5aihA0RhdGEAUwAAAAhQcmVzZW50YXRpb25TY2FubmVkRm9yTGlua2VkU2hhcGVzAAECTnVtYmVyRm9ybWF0U2VwYXJhdG9yTW9kZQAKAAAAQXV0b21hdGljAAACTmFtZQAkAAAATGlua2VkU2hhcGVQcmVzZW50YXRpb25TZXR0aW5nc0RhdGEAEFZlcnNpb24AAAAAAAlMYXN0V3JpdGUAQnYXZo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MIO_PRESENTATION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Fd7WCDL06IbGEsp_8T8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Fd7WCDL06IbGEsp_8T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Fd7WCDL06IbGEsp_8T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Fd7WCDL06IbGEsp_8T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Fd7WCDL06IbGEsp_8T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K3gh1G2Eau06B4d1h.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KlEyXPpUGP7pWT1qYA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USO4PjZEK_orvixNcCs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g.S3U0b0q6t.JexzTQ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Si9kV6akGEkSG7esgP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OQNEDBOEmDClbZF.7y1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2_Db1VgEKYhs7YGlRN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EjAP3LVUmKI7pebRhh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ybrDgHVUyjpfD1h0nij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V_MJ15dUSJjCWGZMJp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CAjyC3JkGJJsXtdaPmK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9DRfB_A0qBg4ECB0kP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4sT1AW3E2q6f7ym5j9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ZPcL3oGE2yjipLfgUv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w2cONlk.iuXDXFuJGk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Fd7WCDL06IbGEsp_8T8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h9fBM4SEWVO2AvMvVT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He6gV0U6X9NdAUyLa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AsZLha2kiVhvX0ANq9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A3LL4dUE2zDZ6bwIdv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ZDtl0WmUetjoBm1qu_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Ibb.K6.Uiri1ApRvH.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KmY4FXYUClFL2xsAMf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OQNEDBOEmDClbZF.7y1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heme/theme1.xml><?xml version="1.0" encoding="utf-8"?>
<a:theme xmlns:a="http://schemas.openxmlformats.org/drawingml/2006/main" name="Siemens 2022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Deep Blue | 0 0 40">
      <a:srgbClr val="000028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Light Sand | 243 243 240">
      <a:srgbClr val="F3F3F0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No color">
      <a:srgbClr val="FFFFFF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Deep Blue | 0 0 40">
      <a:srgbClr val="000028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Light Sand | 243 243 240">
      <a:srgbClr val="F3F3F0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No color">
      <a:srgbClr val="FFFFFF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FFB9"/>
      </a:hlink>
      <a:folHlink>
        <a:srgbClr val="00E6DC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Deep Blue | 0 0 40">
      <a:srgbClr val="000028"/>
    </a:custClr>
    <a:custClr name="Dark Sand | 170 170 150">
      <a:srgbClr val="AAAA96"/>
    </a:custClr>
    <a:custClr name="Dark Yellow | 247 198 0">
      <a:srgbClr val="F7C600"/>
    </a:custClr>
    <a:custClr name="Dark Green | 0 100 110">
      <a:srgbClr val="00646E"/>
    </a:custClr>
    <a:custClr name="Dark Blue | 0 85 124">
      <a:srgbClr val="00557C"/>
    </a:custClr>
    <a:custClr name="Dark Purple | 85 59 163">
      <a:srgbClr val="553BA3"/>
    </a:custClr>
    <a:custClr name="Deep Blue | 0 0 40">
      <a:srgbClr val="000028"/>
    </a:custClr>
    <a:custClr name="Deep Blue 40% (Gray) | 153 153 169">
      <a:srgbClr val="9999A9"/>
    </a:custClr>
    <a:custClr name="Red | 239 1 55">
      <a:srgbClr val="EF0137"/>
    </a:custClr>
    <a:custClr name="Bold Green">
      <a:srgbClr val="00FFB9"/>
    </a:custClr>
    <a:custClr name="Light Sand | 243 243 240">
      <a:srgbClr val="F3F3F0"/>
    </a:custClr>
    <a:custClr name="Soft Sand | 197 197 184">
      <a:srgbClr val="C5C5B8"/>
    </a:custClr>
    <a:custClr name="Yellow | 255 215 50">
      <a:srgbClr val="FFD732"/>
    </a:custClr>
    <a:custClr name="Green | 0 175 142">
      <a:srgbClr val="00AF8E"/>
    </a:custClr>
    <a:custClr name="Blue | 0 135 190">
      <a:srgbClr val="0087BE"/>
    </a:custClr>
    <a:custClr name="Purple | 128 92 255">
      <a:srgbClr val="805CFF"/>
    </a:custClr>
    <a:custClr name="Deep Blue 80% | 51 51 83">
      <a:srgbClr val="333353"/>
    </a:custClr>
    <a:custClr name="Deep Blue 20% (Soft Gray) | 204 204 212">
      <a:srgbClr val="CCCCD4"/>
    </a:custClr>
    <a:custClr name="Dark Orange | 236 102 2">
      <a:srgbClr val="EC6602"/>
    </a:custClr>
    <a:custClr name="Bold Blue">
      <a:srgbClr val="00E6DC"/>
    </a:custClr>
    <a:custClr name="No color">
      <a:srgbClr val="FFFFFF"/>
    </a:custClr>
    <a:custClr name="Bright Sand | 223 223 217">
      <a:srgbClr val="DFDFD9"/>
    </a:custClr>
    <a:custClr name="Soft Yellow | 255 226 112">
      <a:srgbClr val="FFE270"/>
    </a:custClr>
    <a:custClr name="Soft Green | 0 215 160">
      <a:srgbClr val="00D7A0"/>
    </a:custClr>
    <a:custClr name="Soft Blue | 0 190 220">
      <a:srgbClr val="00BEDC"/>
    </a:custClr>
    <a:custClr name="Soft Purple | 180 168 255">
      <a:srgbClr val="B4A8FF"/>
    </a:custClr>
    <a:custClr name="Deep Blue 60% (Dark Gray) | 102 102 126">
      <a:srgbClr val="66667E"/>
    </a:custClr>
    <a:custClr name="Deep Blue 10% (Light Gray) | 229 229 233">
      <a:srgbClr val="E5E5E9"/>
    </a:custClr>
    <a:custClr name="Orange | 255 144 0">
      <a:srgbClr val="FF900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2DF909E40771B4B9466CD016807F559" ma:contentTypeVersion="13" ma:contentTypeDescription="Ein neues Dokument erstellen." ma:contentTypeScope="" ma:versionID="e385c3b28cdaa92fe16c57fe16fcb7a9">
  <xsd:schema xmlns:xsd="http://www.w3.org/2001/XMLSchema" xmlns:xs="http://www.w3.org/2001/XMLSchema" xmlns:p="http://schemas.microsoft.com/office/2006/metadata/properties" xmlns:ns2="58254f78-dbbc-4ca6-b542-025162705072" xmlns:ns3="b15e5e8e-787d-491a-ad39-5f94a520693c" targetNamespace="http://schemas.microsoft.com/office/2006/metadata/properties" ma:root="true" ma:fieldsID="841de62f4e46807059cf542bf26d43c6" ns2:_="" ns3:_="">
    <xsd:import namespace="58254f78-dbbc-4ca6-b542-025162705072"/>
    <xsd:import namespace="b15e5e8e-787d-491a-ad39-5f94a520693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bjectDetectorVersion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254f78-dbbc-4ca6-b542-02516270507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baea3bee-b2db-48fd-abc7-56121e8b8bec}" ma:internalName="TaxCatchAll" ma:showField="CatchAllData" ma:web="58254f78-dbbc-4ca6-b542-02516270507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5e5e8e-787d-491a-ad39-5f94a52069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e63edab7-d5f1-4c02-989a-0e8ed7c6c38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8254f78-dbbc-4ca6-b542-025162705072" xsi:nil="true"/>
    <lcf76f155ced4ddcb4097134ff3c332f xmlns="b15e5e8e-787d-491a-ad39-5f94a520693c">
      <Terms xmlns="http://schemas.microsoft.com/office/infopath/2007/PartnerControls"/>
    </lcf76f155ced4ddcb4097134ff3c332f>
    <SharedWithUsers xmlns="58254f78-dbbc-4ca6-b542-025162705072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39EA9E2-5DDA-4748-ACB1-DBB71BC8DF2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BE3789E-25CC-4919-9F3C-B6563704CA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254f78-dbbc-4ca6-b542-025162705072"/>
    <ds:schemaRef ds:uri="b15e5e8e-787d-491a-ad39-5f94a52069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75C5E8D-7B7D-4DED-89B7-1545EE030636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b15e5e8e-787d-491a-ad39-5f94a520693c"/>
    <ds:schemaRef ds:uri="http://schemas.microsoft.com/office/2006/documentManagement/types"/>
    <ds:schemaRef ds:uri="http://schemas.microsoft.com/office/infopath/2007/PartnerControls"/>
    <ds:schemaRef ds:uri="58254f78-dbbc-4ca6-b542-025162705072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30</Words>
  <Application>Microsoft Office PowerPoint</Application>
  <PresentationFormat>Widescreen</PresentationFormat>
  <Paragraphs>190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Times New Roman</vt:lpstr>
      <vt:lpstr>Wingdings</vt:lpstr>
      <vt:lpstr>Siemens 2022</vt:lpstr>
      <vt:lpstr>think-cell Folie</vt:lpstr>
      <vt:lpstr>TIA Portal V19 Grace Period Offer</vt:lpstr>
      <vt:lpstr>TIA Portal V19 Grace Period Offer SUS Download grace period offer – valid until February 29, 2024</vt:lpstr>
      <vt:lpstr>SUS Download &amp; SUS Manager Your Benefits</vt:lpstr>
      <vt:lpstr>SUS – When is the best point in time to start? Now, straight with the delivery release of TIA Portal V19</vt:lpstr>
      <vt:lpstr>TIA Portal V19 Grace Period Offer Exclusive SUS offer for TIA Portal products valid until February 29, 2024</vt:lpstr>
      <vt:lpstr>TIA Portal V19 Grace Period Offer Order Numbers of orderable SUS Download Products</vt:lpstr>
      <vt:lpstr>TIA Portal V19 Grace Period Offer FAQ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A Portal V1 Grace Period Offer</dc:title>
  <dc:creator/>
  <cp:keywords/>
  <dc:description/>
  <cp:lastModifiedBy/>
  <cp:revision>98</cp:revision>
  <dcterms:created xsi:type="dcterms:W3CDTF">2022-10-27T15:38:17Z</dcterms:created>
  <dcterms:modified xsi:type="dcterms:W3CDTF">2024-01-04T00:3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f75f480-7803-4ee9-bb54-84d0635fdbe7_Enabled">
    <vt:lpwstr>true</vt:lpwstr>
  </property>
  <property fmtid="{D5CDD505-2E9C-101B-9397-08002B2CF9AE}" pid="3" name="MSIP_Label_6f75f480-7803-4ee9-bb54-84d0635fdbe7_SetDate">
    <vt:lpwstr>2022-11-15T09:46:40Z</vt:lpwstr>
  </property>
  <property fmtid="{D5CDD505-2E9C-101B-9397-08002B2CF9AE}" pid="4" name="MSIP_Label_6f75f480-7803-4ee9-bb54-84d0635fdbe7_Method">
    <vt:lpwstr>Privileged</vt:lpwstr>
  </property>
  <property fmtid="{D5CDD505-2E9C-101B-9397-08002B2CF9AE}" pid="5" name="MSIP_Label_6f75f480-7803-4ee9-bb54-84d0635fdbe7_Name">
    <vt:lpwstr>unrestricted</vt:lpwstr>
  </property>
  <property fmtid="{D5CDD505-2E9C-101B-9397-08002B2CF9AE}" pid="6" name="MSIP_Label_6f75f480-7803-4ee9-bb54-84d0635fdbe7_SiteId">
    <vt:lpwstr>38ae3bcd-9579-4fd4-adda-b42e1495d55a</vt:lpwstr>
  </property>
  <property fmtid="{D5CDD505-2E9C-101B-9397-08002B2CF9AE}" pid="7" name="MSIP_Label_6f75f480-7803-4ee9-bb54-84d0635fdbe7_ActionId">
    <vt:lpwstr>6cc5140a-dc2f-48c8-985d-0d751692d19f</vt:lpwstr>
  </property>
  <property fmtid="{D5CDD505-2E9C-101B-9397-08002B2CF9AE}" pid="8" name="MSIP_Label_6f75f480-7803-4ee9-bb54-84d0635fdbe7_ContentBits">
    <vt:lpwstr>0</vt:lpwstr>
  </property>
  <property fmtid="{D5CDD505-2E9C-101B-9397-08002B2CF9AE}" pid="9" name="Document_Confidentiality">
    <vt:lpwstr>Unrestricted</vt:lpwstr>
  </property>
  <property fmtid="{D5CDD505-2E9C-101B-9397-08002B2CF9AE}" pid="10" name="ContentTypeId">
    <vt:lpwstr>0x01010012DF909E40771B4B9466CD016807F559</vt:lpwstr>
  </property>
  <property fmtid="{D5CDD505-2E9C-101B-9397-08002B2CF9AE}" pid="11" name="MediaServiceImageTags">
    <vt:lpwstr/>
  </property>
  <property fmtid="{D5CDD505-2E9C-101B-9397-08002B2CF9AE}" pid="12" name="xd_ProgID">
    <vt:lpwstr/>
  </property>
  <property fmtid="{D5CDD505-2E9C-101B-9397-08002B2CF9AE}" pid="13" name="ComplianceAssetId">
    <vt:lpwstr/>
  </property>
  <property fmtid="{D5CDD505-2E9C-101B-9397-08002B2CF9AE}" pid="14" name="TemplateUrl">
    <vt:lpwstr/>
  </property>
  <property fmtid="{D5CDD505-2E9C-101B-9397-08002B2CF9AE}" pid="15" name="_ExtendedDescription">
    <vt:lpwstr/>
  </property>
  <property fmtid="{D5CDD505-2E9C-101B-9397-08002B2CF9AE}" pid="16" name="TriggerFlowInfo">
    <vt:lpwstr/>
  </property>
  <property fmtid="{D5CDD505-2E9C-101B-9397-08002B2CF9AE}" pid="17" name="xd_Signature">
    <vt:bool>false</vt:bool>
  </property>
</Properties>
</file>